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4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79" r:id="rId3"/>
    <p:sldMasterId id="2147483693" r:id="rId4"/>
  </p:sldMasterIdLst>
  <p:notesMasterIdLst>
    <p:notesMasterId r:id="rId21"/>
  </p:notesMasterIdLst>
  <p:sldIdLst>
    <p:sldId id="264" r:id="rId5"/>
    <p:sldId id="265" r:id="rId6"/>
    <p:sldId id="267" r:id="rId7"/>
    <p:sldId id="266" r:id="rId8"/>
    <p:sldId id="257" r:id="rId9"/>
    <p:sldId id="259" r:id="rId10"/>
    <p:sldId id="260" r:id="rId11"/>
    <p:sldId id="261" r:id="rId12"/>
    <p:sldId id="262" r:id="rId13"/>
    <p:sldId id="268" r:id="rId14"/>
    <p:sldId id="270" r:id="rId15"/>
    <p:sldId id="271" r:id="rId16"/>
    <p:sldId id="272" r:id="rId17"/>
    <p:sldId id="273" r:id="rId18"/>
    <p:sldId id="274" r:id="rId19"/>
    <p:sldId id="276" r:id="rId20"/>
  </p:sldIdLst>
  <p:sldSz cx="9144000" cy="6858000" type="screen4x3"/>
  <p:notesSz cx="6858000" cy="9144000"/>
  <p:custDataLst>
    <p:tags r:id="rId22"/>
  </p:custDataLst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24" autoAdjust="0"/>
  </p:normalViewPr>
  <p:slideViewPr>
    <p:cSldViewPr>
      <p:cViewPr>
        <p:scale>
          <a:sx n="70" d="100"/>
          <a:sy n="70" d="100"/>
        </p:scale>
        <p:origin x="-1386" y="-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06409C3-E983-401F-907D-5341FDF6E6E2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7FCA769-14A5-47BE-9EF2-31CACF5CE060}">
      <dgm:prSet phldrT="[Text]"/>
      <dgm:spPr/>
      <dgm:t>
        <a:bodyPr/>
        <a:lstStyle/>
        <a:p>
          <a:r>
            <a:rPr lang="sr-Latn-CS" b="1" dirty="0" smtClean="0"/>
            <a:t>Dark fibre</a:t>
          </a:r>
          <a:endParaRPr lang="en-GB" b="1" dirty="0"/>
        </a:p>
      </dgm:t>
    </dgm:pt>
    <dgm:pt modelId="{14C7FC50-2675-4196-8EB0-EC4448F509E8}" type="parTrans" cxnId="{56C546F9-DD21-402C-8464-3F401270D84C}">
      <dgm:prSet/>
      <dgm:spPr/>
      <dgm:t>
        <a:bodyPr/>
        <a:lstStyle/>
        <a:p>
          <a:endParaRPr lang="en-GB"/>
        </a:p>
      </dgm:t>
    </dgm:pt>
    <dgm:pt modelId="{AFD08419-3F0A-4B0F-B644-CA04C5655D59}" type="sibTrans" cxnId="{56C546F9-DD21-402C-8464-3F401270D84C}">
      <dgm:prSet/>
      <dgm:spPr/>
      <dgm:t>
        <a:bodyPr/>
        <a:lstStyle/>
        <a:p>
          <a:endParaRPr lang="en-GB"/>
        </a:p>
      </dgm:t>
    </dgm:pt>
    <dgm:pt modelId="{9079EB26-3F50-465C-B09D-8A42CED05EF3}">
      <dgm:prSet phldrT="[Text]" custT="1"/>
      <dgm:spPr/>
      <dgm:t>
        <a:bodyPr/>
        <a:lstStyle/>
        <a:p>
          <a:r>
            <a:rPr lang="sr-Latn-CS" sz="1600" dirty="0" smtClean="0">
              <a:latin typeface="Arial" panose="020B0604020202020204" pitchFamily="34" charset="0"/>
              <a:cs typeface="Arial" panose="020B0604020202020204" pitchFamily="34" charset="0"/>
            </a:rPr>
            <a:t>Telenor</a:t>
          </a:r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 Serbia</a:t>
          </a:r>
          <a:r>
            <a:rPr lang="sr-Latn-RS" sz="1600" dirty="0" smtClean="0">
              <a:latin typeface="Arial" panose="020B0604020202020204" pitchFamily="34" charset="0"/>
              <a:cs typeface="Arial" panose="020B0604020202020204" pitchFamily="34" charset="0"/>
            </a:rPr>
            <a:t> and Montenegro</a:t>
          </a:r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  </a:t>
          </a:r>
          <a:r>
            <a:rPr lang="sr-Latn-CS" sz="1600" dirty="0" smtClean="0">
              <a:latin typeface="Arial" panose="020B0604020202020204" pitchFamily="34" charset="0"/>
              <a:cs typeface="Arial" panose="020B0604020202020204" pitchFamily="34" charset="0"/>
            </a:rPr>
            <a:t>fibre network</a:t>
          </a:r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 connects the countries of the Balkans region, via several rings, allowing resilient traffic routing </a:t>
          </a:r>
          <a:r>
            <a:rPr lang="sr-Latn-CS" sz="16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endParaRPr lang="en-GB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D5FB02E-1F70-4D8B-9932-3EF0E7BA28B9}" type="parTrans" cxnId="{92988BE1-12B8-4D5D-B099-80236AA5256E}">
      <dgm:prSet/>
      <dgm:spPr/>
      <dgm:t>
        <a:bodyPr/>
        <a:lstStyle/>
        <a:p>
          <a:endParaRPr lang="en-GB"/>
        </a:p>
      </dgm:t>
    </dgm:pt>
    <dgm:pt modelId="{379046FC-909F-4BC7-9434-D8E63A30854C}" type="sibTrans" cxnId="{92988BE1-12B8-4D5D-B099-80236AA5256E}">
      <dgm:prSet/>
      <dgm:spPr/>
      <dgm:t>
        <a:bodyPr/>
        <a:lstStyle/>
        <a:p>
          <a:endParaRPr lang="en-GB"/>
        </a:p>
      </dgm:t>
    </dgm:pt>
    <dgm:pt modelId="{B7D3C4CB-A33B-4C3E-A682-F901E848CA65}">
      <dgm:prSet phldrT="[Text]"/>
      <dgm:spPr/>
      <dgm:t>
        <a:bodyPr/>
        <a:lstStyle/>
        <a:p>
          <a:r>
            <a:rPr lang="sr-Latn-CS" b="1" dirty="0" smtClean="0"/>
            <a:t>Wavelength</a:t>
          </a:r>
          <a:r>
            <a:rPr lang="sr-Latn-CS" dirty="0" smtClean="0"/>
            <a:t> </a:t>
          </a:r>
          <a:endParaRPr lang="en-GB" dirty="0"/>
        </a:p>
      </dgm:t>
    </dgm:pt>
    <dgm:pt modelId="{0AF1A478-6D05-465F-A53D-E3BFDBBD6948}" type="parTrans" cxnId="{E8936ED9-259D-46D8-AD97-2B8C09AC4D9B}">
      <dgm:prSet/>
      <dgm:spPr/>
      <dgm:t>
        <a:bodyPr/>
        <a:lstStyle/>
        <a:p>
          <a:endParaRPr lang="en-GB"/>
        </a:p>
      </dgm:t>
    </dgm:pt>
    <dgm:pt modelId="{F25C89B7-DF48-4438-84B8-8D02E4B36B03}" type="sibTrans" cxnId="{E8936ED9-259D-46D8-AD97-2B8C09AC4D9B}">
      <dgm:prSet/>
      <dgm:spPr/>
      <dgm:t>
        <a:bodyPr/>
        <a:lstStyle/>
        <a:p>
          <a:endParaRPr lang="en-GB"/>
        </a:p>
      </dgm:t>
    </dgm:pt>
    <dgm:pt modelId="{F31F0C3E-F284-49CC-9F6C-1FDCEE48C88B}">
      <dgm:prSet phldrT="[Text]" custT="1"/>
      <dgm:spPr/>
      <dgm:t>
        <a:bodyPr/>
        <a:lstStyle/>
        <a:p>
          <a:r>
            <a: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Telenor Serbia</a:t>
          </a:r>
          <a:r>
            <a:rPr lang="sr-Latn-R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and Montenegro</a:t>
          </a:r>
          <a:r>
            <a: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main international </a:t>
          </a:r>
          <a:r>
            <a:rPr lang="en-US" sz="160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PoPs</a:t>
          </a:r>
          <a:r>
            <a: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in Belgrade, Budapest and Sofia are connected via our wavelength network. </a:t>
          </a:r>
          <a:endParaRPr lang="en-GB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19BCD0-4FA0-4524-B82D-8AA4950C3878}" type="parTrans" cxnId="{BEB760C6-4BE8-4974-8CF4-E2ADFB5DD340}">
      <dgm:prSet/>
      <dgm:spPr/>
      <dgm:t>
        <a:bodyPr/>
        <a:lstStyle/>
        <a:p>
          <a:endParaRPr lang="en-GB"/>
        </a:p>
      </dgm:t>
    </dgm:pt>
    <dgm:pt modelId="{A9BC9F96-E158-4BB1-A6B6-027D125C6C2E}" type="sibTrans" cxnId="{BEB760C6-4BE8-4974-8CF4-E2ADFB5DD340}">
      <dgm:prSet/>
      <dgm:spPr/>
      <dgm:t>
        <a:bodyPr/>
        <a:lstStyle/>
        <a:p>
          <a:endParaRPr lang="en-GB"/>
        </a:p>
      </dgm:t>
    </dgm:pt>
    <dgm:pt modelId="{3D17186C-FABD-4D3A-A994-EE8F8A186DF8}">
      <dgm:prSet phldrT="[Text]"/>
      <dgm:spPr/>
      <dgm:t>
        <a:bodyPr/>
        <a:lstStyle/>
        <a:p>
          <a:r>
            <a:rPr lang="sr-Latn-CS" b="1" dirty="0" smtClean="0"/>
            <a:t>SDH capacities</a:t>
          </a:r>
          <a:endParaRPr lang="en-GB" b="1" dirty="0"/>
        </a:p>
      </dgm:t>
    </dgm:pt>
    <dgm:pt modelId="{3853B5BE-2937-44AB-A25D-5754DE548C63}" type="parTrans" cxnId="{2BD1F2AE-FCCE-4A0B-8098-13CA99328DDE}">
      <dgm:prSet/>
      <dgm:spPr/>
      <dgm:t>
        <a:bodyPr/>
        <a:lstStyle/>
        <a:p>
          <a:endParaRPr lang="en-GB"/>
        </a:p>
      </dgm:t>
    </dgm:pt>
    <dgm:pt modelId="{07EAA956-8912-4682-8CD8-6585F174DCE7}" type="sibTrans" cxnId="{2BD1F2AE-FCCE-4A0B-8098-13CA99328DDE}">
      <dgm:prSet/>
      <dgm:spPr/>
      <dgm:t>
        <a:bodyPr/>
        <a:lstStyle/>
        <a:p>
          <a:endParaRPr lang="en-GB"/>
        </a:p>
      </dgm:t>
    </dgm:pt>
    <dgm:pt modelId="{C962589D-43B9-4AB3-9DB0-1D3C534122F6}">
      <dgm:prSet phldrT="[Text]" custT="1"/>
      <dgm:spPr/>
      <dgm:t>
        <a:bodyPr/>
        <a:lstStyle/>
        <a:p>
          <a:r>
            <a: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Private l</a:t>
          </a:r>
          <a:r>
            <a:rPr lang="sr-Latn-C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eased line</a:t>
          </a:r>
          <a:r>
            <a: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options from E1 to STM-64 across Telenor Serbia </a:t>
          </a:r>
          <a:r>
            <a:rPr lang="en-US" sz="160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fibre</a:t>
          </a:r>
          <a:r>
            <a: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optic network</a:t>
          </a:r>
          <a:endParaRPr lang="en-GB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AD9C7F-08CD-4FAD-BFA4-6E0E474DF78C}" type="parTrans" cxnId="{97D30312-2034-41F0-B8C9-3EA95E13A6C8}">
      <dgm:prSet/>
      <dgm:spPr/>
      <dgm:t>
        <a:bodyPr/>
        <a:lstStyle/>
        <a:p>
          <a:endParaRPr lang="en-GB"/>
        </a:p>
      </dgm:t>
    </dgm:pt>
    <dgm:pt modelId="{793E0188-9B0C-4400-9C35-D71A8DBA9CED}" type="sibTrans" cxnId="{97D30312-2034-41F0-B8C9-3EA95E13A6C8}">
      <dgm:prSet/>
      <dgm:spPr/>
      <dgm:t>
        <a:bodyPr/>
        <a:lstStyle/>
        <a:p>
          <a:endParaRPr lang="en-GB"/>
        </a:p>
      </dgm:t>
    </dgm:pt>
    <dgm:pt modelId="{0C9441E5-CC27-4031-868A-D3BF43F0C1FC}">
      <dgm:prSet/>
      <dgm:spPr/>
      <dgm:t>
        <a:bodyPr/>
        <a:lstStyle/>
        <a:p>
          <a:r>
            <a:rPr lang="sr-Latn-CS" b="1" dirty="0" smtClean="0"/>
            <a:t>Ethernet solutions</a:t>
          </a:r>
          <a:endParaRPr lang="en-GB" b="1" dirty="0"/>
        </a:p>
      </dgm:t>
    </dgm:pt>
    <dgm:pt modelId="{C1D5BC3C-D554-4881-AE5A-00557F226B6F}" type="parTrans" cxnId="{E68B2B0C-C7D3-431A-9B2E-2A8953E7F070}">
      <dgm:prSet/>
      <dgm:spPr/>
      <dgm:t>
        <a:bodyPr/>
        <a:lstStyle/>
        <a:p>
          <a:endParaRPr lang="en-GB"/>
        </a:p>
      </dgm:t>
    </dgm:pt>
    <dgm:pt modelId="{C95507AF-B444-4FBC-BCC0-C3725159E9B5}" type="sibTrans" cxnId="{E68B2B0C-C7D3-431A-9B2E-2A8953E7F070}">
      <dgm:prSet/>
      <dgm:spPr/>
      <dgm:t>
        <a:bodyPr/>
        <a:lstStyle/>
        <a:p>
          <a:endParaRPr lang="en-GB"/>
        </a:p>
      </dgm:t>
    </dgm:pt>
    <dgm:pt modelId="{0B07AC4A-1C82-4F78-8204-9655C78A04B0}">
      <dgm:prSet custT="1"/>
      <dgm:spPr/>
      <dgm:t>
        <a:bodyPr/>
        <a:lstStyle/>
        <a:p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Service are delivered via Layer 2 platform for purpose of provisioning of end-to-end connections with SLA secured </a:t>
          </a:r>
          <a:r>
            <a:rPr lang="sr-Latn-CS" sz="1600" dirty="0" smtClean="0">
              <a:latin typeface="Arial" panose="020B0604020202020204" pitchFamily="34" charset="0"/>
              <a:cs typeface="Arial" panose="020B0604020202020204" pitchFamily="34" charset="0"/>
            </a:rPr>
            <a:t>by MPLS traffic engineering </a:t>
          </a:r>
          <a:endParaRPr lang="en-GB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202DF3F-ACA4-438E-BE36-56C45257DB32}" type="parTrans" cxnId="{E87FB545-A711-4262-B783-1EBD70135482}">
      <dgm:prSet/>
      <dgm:spPr/>
      <dgm:t>
        <a:bodyPr/>
        <a:lstStyle/>
        <a:p>
          <a:endParaRPr lang="en-GB"/>
        </a:p>
      </dgm:t>
    </dgm:pt>
    <dgm:pt modelId="{9A86E932-4219-4C20-9114-58F1CC20EE69}" type="sibTrans" cxnId="{E87FB545-A711-4262-B783-1EBD70135482}">
      <dgm:prSet/>
      <dgm:spPr/>
      <dgm:t>
        <a:bodyPr/>
        <a:lstStyle/>
        <a:p>
          <a:endParaRPr lang="en-GB"/>
        </a:p>
      </dgm:t>
    </dgm:pt>
    <dgm:pt modelId="{D67DB97F-B73B-4312-B7AA-375A2EFA65E5}">
      <dgm:prSet custT="1"/>
      <dgm:spPr/>
      <dgm:t>
        <a:bodyPr/>
        <a:lstStyle/>
        <a:p>
          <a:r>
            <a:rPr lang="en-US" sz="1600" b="0" dirty="0" smtClean="0">
              <a:latin typeface="Arial" panose="020B0604020202020204" pitchFamily="34" charset="0"/>
              <a:cs typeface="Arial" panose="020B0604020202020204" pitchFamily="34" charset="0"/>
            </a:rPr>
            <a:t>Completely redundant networking equipment with dual power supplies and spare units for all critical equipment</a:t>
          </a:r>
          <a:endParaRPr lang="en-GB" sz="16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BF249E-4FF5-458C-95AF-F840BFFAE362}" type="parTrans" cxnId="{15E1AAED-C4AC-483E-BFBF-0CE5A8501789}">
      <dgm:prSet/>
      <dgm:spPr/>
      <dgm:t>
        <a:bodyPr/>
        <a:lstStyle/>
        <a:p>
          <a:endParaRPr lang="en-GB"/>
        </a:p>
      </dgm:t>
    </dgm:pt>
    <dgm:pt modelId="{BF1DE598-8F5E-4550-A932-7E0F6765AC0C}" type="sibTrans" cxnId="{15E1AAED-C4AC-483E-BFBF-0CE5A8501789}">
      <dgm:prSet/>
      <dgm:spPr/>
      <dgm:t>
        <a:bodyPr/>
        <a:lstStyle/>
        <a:p>
          <a:endParaRPr lang="en-GB"/>
        </a:p>
      </dgm:t>
    </dgm:pt>
    <dgm:pt modelId="{B2685220-604A-41FB-8D8F-183ACF48F089}">
      <dgm:prSet phldrT="[Text]" custT="1"/>
      <dgm:spPr/>
      <dgm:t>
        <a:bodyPr/>
        <a:lstStyle/>
        <a:p>
          <a:endParaRPr lang="en-GB" sz="1000" dirty="0"/>
        </a:p>
      </dgm:t>
    </dgm:pt>
    <dgm:pt modelId="{EDA91512-360A-4F12-B6FA-EF63AE1C0168}" type="parTrans" cxnId="{0A737D38-F58E-4E8E-8ED7-F96BFE27BE1E}">
      <dgm:prSet/>
      <dgm:spPr/>
      <dgm:t>
        <a:bodyPr/>
        <a:lstStyle/>
        <a:p>
          <a:endParaRPr lang="en-GB"/>
        </a:p>
      </dgm:t>
    </dgm:pt>
    <dgm:pt modelId="{AC2E880B-AD99-4B8F-92FC-A00F71C290C7}" type="sibTrans" cxnId="{0A737D38-F58E-4E8E-8ED7-F96BFE27BE1E}">
      <dgm:prSet/>
      <dgm:spPr/>
      <dgm:t>
        <a:bodyPr/>
        <a:lstStyle/>
        <a:p>
          <a:endParaRPr lang="en-GB"/>
        </a:p>
      </dgm:t>
    </dgm:pt>
    <dgm:pt modelId="{A34A458A-F33D-44EF-A97F-40FA69FC8C4A}">
      <dgm:prSet custT="1"/>
      <dgm:spPr/>
      <dgm:t>
        <a:bodyPr/>
        <a:lstStyle/>
        <a:p>
          <a:r>
            <a:rPr lang="en-US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thernet services available across entire network footprint with connectivity ranging from 2Mb</a:t>
          </a:r>
          <a:r>
            <a:rPr lang="sr-Latn-RS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s</a:t>
          </a:r>
          <a:r>
            <a:rPr lang="en-US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/s to 10Gb/s</a:t>
          </a:r>
          <a:endParaRPr lang="en-GB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C87E7A-78E4-47E7-87FC-F0D18A22C689}" type="parTrans" cxnId="{BC5E0860-29DE-409D-A41F-BC322BD53771}">
      <dgm:prSet/>
      <dgm:spPr/>
      <dgm:t>
        <a:bodyPr/>
        <a:lstStyle/>
        <a:p>
          <a:endParaRPr lang="sr-Latn-RS"/>
        </a:p>
      </dgm:t>
    </dgm:pt>
    <dgm:pt modelId="{8C13FFAC-CBE3-4543-84E4-8E5C2339FCC0}" type="sibTrans" cxnId="{BC5E0860-29DE-409D-A41F-BC322BD53771}">
      <dgm:prSet/>
      <dgm:spPr/>
      <dgm:t>
        <a:bodyPr/>
        <a:lstStyle/>
        <a:p>
          <a:endParaRPr lang="sr-Latn-RS"/>
        </a:p>
      </dgm:t>
    </dgm:pt>
    <dgm:pt modelId="{3CB763E9-8A60-4FAE-8D78-9491E8E1E8A8}">
      <dgm:prSet phldrT="[Text]" custT="1"/>
      <dgm:spPr/>
      <dgm:t>
        <a:bodyPr/>
        <a:lstStyle/>
        <a:p>
          <a:endParaRPr lang="en-GB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748CE3-8DBD-4FB2-9A1E-B80D1D927C78}" type="parTrans" cxnId="{AB29353E-994F-4AEC-B27B-064621B78174}">
      <dgm:prSet/>
      <dgm:spPr/>
      <dgm:t>
        <a:bodyPr/>
        <a:lstStyle/>
        <a:p>
          <a:endParaRPr lang="en-US"/>
        </a:p>
      </dgm:t>
    </dgm:pt>
    <dgm:pt modelId="{9AB5E6BF-3BEC-4F49-95E8-C6945FE483DE}" type="sibTrans" cxnId="{AB29353E-994F-4AEC-B27B-064621B78174}">
      <dgm:prSet/>
      <dgm:spPr/>
      <dgm:t>
        <a:bodyPr/>
        <a:lstStyle/>
        <a:p>
          <a:endParaRPr lang="en-US"/>
        </a:p>
      </dgm:t>
    </dgm:pt>
    <dgm:pt modelId="{3D683B61-2D61-4F9A-B09E-F576457A5DBB}" type="pres">
      <dgm:prSet presAssocID="{D06409C3-E983-401F-907D-5341FDF6E6E2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59161D1A-0061-4B95-83C6-567E2CA262AF}" type="pres">
      <dgm:prSet presAssocID="{B7FCA769-14A5-47BE-9EF2-31CACF5CE060}" presName="composite" presStyleCnt="0"/>
      <dgm:spPr/>
    </dgm:pt>
    <dgm:pt modelId="{51BF0E4E-1328-471F-BF86-74CD0D6634CB}" type="pres">
      <dgm:prSet presAssocID="{B7FCA769-14A5-47BE-9EF2-31CACF5CE060}" presName="parentText" presStyleLbl="alignNode1" presStyleIdx="0" presStyleCnt="4" custScaleY="144196" custLinFactNeighborY="1536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5D0774B-B988-4DCC-BA13-6FF45E7E8A63}" type="pres">
      <dgm:prSet presAssocID="{B7FCA769-14A5-47BE-9EF2-31CACF5CE060}" presName="descendantText" presStyleLbl="alignAcc1" presStyleIdx="0" presStyleCnt="4" custScaleY="169493" custLinFactNeighborY="3430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1DB7B7F-93FF-4F11-BB7A-90A6FF783B17}" type="pres">
      <dgm:prSet presAssocID="{AFD08419-3F0A-4B0F-B644-CA04C5655D59}" presName="sp" presStyleCnt="0"/>
      <dgm:spPr/>
    </dgm:pt>
    <dgm:pt modelId="{DD1C98FA-71B0-4ED9-9687-D4F4B84B199A}" type="pres">
      <dgm:prSet presAssocID="{B7D3C4CB-A33B-4C3E-A682-F901E848CA65}" presName="composite" presStyleCnt="0"/>
      <dgm:spPr/>
    </dgm:pt>
    <dgm:pt modelId="{A520F3FB-AF84-498C-975B-83B898F0102B}" type="pres">
      <dgm:prSet presAssocID="{B7D3C4CB-A33B-4C3E-A682-F901E848CA65}" presName="parentText" presStyleLbl="alignNode1" presStyleIdx="1" presStyleCnt="4" custScaleY="142193" custLinFactNeighborY="8248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B77835B-FE9F-4FCA-A157-DA0AD7614970}" type="pres">
      <dgm:prSet presAssocID="{B7D3C4CB-A33B-4C3E-A682-F901E848CA65}" presName="descendantText" presStyleLbl="alignAcc1" presStyleIdx="1" presStyleCnt="4" custScaleY="165088" custLinFactNeighborY="2799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F1996A8-59D2-474F-AB62-373EF0E5B0EE}" type="pres">
      <dgm:prSet presAssocID="{F25C89B7-DF48-4438-84B8-8D02E4B36B03}" presName="sp" presStyleCnt="0"/>
      <dgm:spPr/>
    </dgm:pt>
    <dgm:pt modelId="{AF08F38E-94EC-44B3-A5C2-24CF9E5A7771}" type="pres">
      <dgm:prSet presAssocID="{3D17186C-FABD-4D3A-A994-EE8F8A186DF8}" presName="composite" presStyleCnt="0"/>
      <dgm:spPr/>
    </dgm:pt>
    <dgm:pt modelId="{441F3EEA-5A66-4403-AEF8-CAB971CFA7E5}" type="pres">
      <dgm:prSet presAssocID="{3D17186C-FABD-4D3A-A994-EE8F8A186DF8}" presName="parentText" presStyleLbl="alignNode1" presStyleIdx="2" presStyleCnt="4" custLinFactNeighborY="-84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91DCB3C-3D7F-4E0C-B016-8A1218F58F12}" type="pres">
      <dgm:prSet presAssocID="{3D17186C-FABD-4D3A-A994-EE8F8A186DF8}" presName="descendantText" presStyleLbl="alignAcc1" presStyleIdx="2" presStyleCnt="4" custScaleY="92500" custLinFactNeighborY="-278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D0791E9-D5F7-484E-BC3D-18FFC07E554B}" type="pres">
      <dgm:prSet presAssocID="{07EAA956-8912-4682-8CD8-6585F174DCE7}" presName="sp" presStyleCnt="0"/>
      <dgm:spPr/>
    </dgm:pt>
    <dgm:pt modelId="{6D94A08D-5628-4B77-8E92-8C618B6E5A02}" type="pres">
      <dgm:prSet presAssocID="{0C9441E5-CC27-4031-868A-D3BF43F0C1FC}" presName="composite" presStyleCnt="0"/>
      <dgm:spPr/>
    </dgm:pt>
    <dgm:pt modelId="{77A06059-14A1-4883-8527-6CC6464EE535}" type="pres">
      <dgm:prSet presAssocID="{0C9441E5-CC27-4031-868A-D3BF43F0C1FC}" presName="parentText" presStyleLbl="alignNode1" presStyleIdx="3" presStyleCnt="4" custScaleY="141028" custLinFactNeighborY="-2882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5408E89-77BF-4135-85B1-B1C4807036AA}" type="pres">
      <dgm:prSet presAssocID="{0C9441E5-CC27-4031-868A-D3BF43F0C1FC}" presName="descendantText" presStyleLbl="alignAcc1" presStyleIdx="3" presStyleCnt="4" custScaleY="346116" custLinFactNeighborY="-2432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CBE1EFD8-250B-4405-B57D-3A06FF85D758}" type="presOf" srcId="{3D17186C-FABD-4D3A-A994-EE8F8A186DF8}" destId="{441F3EEA-5A66-4403-AEF8-CAB971CFA7E5}" srcOrd="0" destOrd="0" presId="urn:microsoft.com/office/officeart/2005/8/layout/chevron2"/>
    <dgm:cxn modelId="{9F7540D0-7683-4435-A559-5C6C1B133F71}" type="presOf" srcId="{3CB763E9-8A60-4FAE-8D78-9491E8E1E8A8}" destId="{291DCB3C-3D7F-4E0C-B016-8A1218F58F12}" srcOrd="0" destOrd="0" presId="urn:microsoft.com/office/officeart/2005/8/layout/chevron2"/>
    <dgm:cxn modelId="{5937EF20-3386-4A20-A983-08172746C800}" type="presOf" srcId="{B7D3C4CB-A33B-4C3E-A682-F901E848CA65}" destId="{A520F3FB-AF84-498C-975B-83B898F0102B}" srcOrd="0" destOrd="0" presId="urn:microsoft.com/office/officeart/2005/8/layout/chevron2"/>
    <dgm:cxn modelId="{D9DA2A0B-07E4-4FA0-B915-C5814D5A584B}" type="presOf" srcId="{0B07AC4A-1C82-4F78-8204-9655C78A04B0}" destId="{D5408E89-77BF-4135-85B1-B1C4807036AA}" srcOrd="0" destOrd="0" presId="urn:microsoft.com/office/officeart/2005/8/layout/chevron2"/>
    <dgm:cxn modelId="{2BD1F2AE-FCCE-4A0B-8098-13CA99328DDE}" srcId="{D06409C3-E983-401F-907D-5341FDF6E6E2}" destId="{3D17186C-FABD-4D3A-A994-EE8F8A186DF8}" srcOrd="2" destOrd="0" parTransId="{3853B5BE-2937-44AB-A25D-5754DE548C63}" sibTransId="{07EAA956-8912-4682-8CD8-6585F174DCE7}"/>
    <dgm:cxn modelId="{0A737D38-F58E-4E8E-8ED7-F96BFE27BE1E}" srcId="{3D17186C-FABD-4D3A-A994-EE8F8A186DF8}" destId="{B2685220-604A-41FB-8D8F-183ACF48F089}" srcOrd="2" destOrd="0" parTransId="{EDA91512-360A-4F12-B6FA-EF63AE1C0168}" sibTransId="{AC2E880B-AD99-4B8F-92FC-A00F71C290C7}"/>
    <dgm:cxn modelId="{80B95BE0-9B28-4FB8-A410-04D7414B1049}" type="presOf" srcId="{C962589D-43B9-4AB3-9DB0-1D3C534122F6}" destId="{291DCB3C-3D7F-4E0C-B016-8A1218F58F12}" srcOrd="0" destOrd="1" presId="urn:microsoft.com/office/officeart/2005/8/layout/chevron2"/>
    <dgm:cxn modelId="{06FC2349-7D44-47C4-873C-C63FB282B78E}" type="presOf" srcId="{A34A458A-F33D-44EF-A97F-40FA69FC8C4A}" destId="{D5408E89-77BF-4135-85B1-B1C4807036AA}" srcOrd="0" destOrd="1" presId="urn:microsoft.com/office/officeart/2005/8/layout/chevron2"/>
    <dgm:cxn modelId="{E68B2B0C-C7D3-431A-9B2E-2A8953E7F070}" srcId="{D06409C3-E983-401F-907D-5341FDF6E6E2}" destId="{0C9441E5-CC27-4031-868A-D3BF43F0C1FC}" srcOrd="3" destOrd="0" parTransId="{C1D5BC3C-D554-4881-AE5A-00557F226B6F}" sibTransId="{C95507AF-B444-4FBC-BCC0-C3725159E9B5}"/>
    <dgm:cxn modelId="{E8936ED9-259D-46D8-AD97-2B8C09AC4D9B}" srcId="{D06409C3-E983-401F-907D-5341FDF6E6E2}" destId="{B7D3C4CB-A33B-4C3E-A682-F901E848CA65}" srcOrd="1" destOrd="0" parTransId="{0AF1A478-6D05-465F-A53D-E3BFDBBD6948}" sibTransId="{F25C89B7-DF48-4438-84B8-8D02E4B36B03}"/>
    <dgm:cxn modelId="{7829D3FB-1E0C-4D43-8335-91C157B23672}" type="presOf" srcId="{9079EB26-3F50-465C-B09D-8A42CED05EF3}" destId="{75D0774B-B988-4DCC-BA13-6FF45E7E8A63}" srcOrd="0" destOrd="0" presId="urn:microsoft.com/office/officeart/2005/8/layout/chevron2"/>
    <dgm:cxn modelId="{3B60467B-9500-4BE8-8821-9C79E40216D5}" type="presOf" srcId="{F31F0C3E-F284-49CC-9F6C-1FDCEE48C88B}" destId="{6B77835B-FE9F-4FCA-A157-DA0AD7614970}" srcOrd="0" destOrd="0" presId="urn:microsoft.com/office/officeart/2005/8/layout/chevron2"/>
    <dgm:cxn modelId="{15E1AAED-C4AC-483E-BFBF-0CE5A8501789}" srcId="{0C9441E5-CC27-4031-868A-D3BF43F0C1FC}" destId="{D67DB97F-B73B-4312-B7AA-375A2EFA65E5}" srcOrd="2" destOrd="0" parTransId="{4DBF249E-4FF5-458C-95AF-F840BFFAE362}" sibTransId="{BF1DE598-8F5E-4550-A932-7E0F6765AC0C}"/>
    <dgm:cxn modelId="{BC5E0860-29DE-409D-A41F-BC322BD53771}" srcId="{0C9441E5-CC27-4031-868A-D3BF43F0C1FC}" destId="{A34A458A-F33D-44EF-A97F-40FA69FC8C4A}" srcOrd="1" destOrd="0" parTransId="{E0C87E7A-78E4-47E7-87FC-F0D18A22C689}" sibTransId="{8C13FFAC-CBE3-4543-84E4-8E5C2339FCC0}"/>
    <dgm:cxn modelId="{62685BEC-048E-4C0E-82BE-88C9158D2634}" type="presOf" srcId="{0C9441E5-CC27-4031-868A-D3BF43F0C1FC}" destId="{77A06059-14A1-4883-8527-6CC6464EE535}" srcOrd="0" destOrd="0" presId="urn:microsoft.com/office/officeart/2005/8/layout/chevron2"/>
    <dgm:cxn modelId="{45AA98D0-CC1B-4FD4-989C-E39BB53832F7}" type="presOf" srcId="{D67DB97F-B73B-4312-B7AA-375A2EFA65E5}" destId="{D5408E89-77BF-4135-85B1-B1C4807036AA}" srcOrd="0" destOrd="2" presId="urn:microsoft.com/office/officeart/2005/8/layout/chevron2"/>
    <dgm:cxn modelId="{92988BE1-12B8-4D5D-B099-80236AA5256E}" srcId="{B7FCA769-14A5-47BE-9EF2-31CACF5CE060}" destId="{9079EB26-3F50-465C-B09D-8A42CED05EF3}" srcOrd="0" destOrd="0" parTransId="{9D5FB02E-1F70-4D8B-9932-3EF0E7BA28B9}" sibTransId="{379046FC-909F-4BC7-9434-D8E63A30854C}"/>
    <dgm:cxn modelId="{BEB760C6-4BE8-4974-8CF4-E2ADFB5DD340}" srcId="{B7D3C4CB-A33B-4C3E-A682-F901E848CA65}" destId="{F31F0C3E-F284-49CC-9F6C-1FDCEE48C88B}" srcOrd="0" destOrd="0" parTransId="{2619BCD0-4FA0-4524-B82D-8AA4950C3878}" sibTransId="{A9BC9F96-E158-4BB1-A6B6-027D125C6C2E}"/>
    <dgm:cxn modelId="{97D30312-2034-41F0-B8C9-3EA95E13A6C8}" srcId="{3D17186C-FABD-4D3A-A994-EE8F8A186DF8}" destId="{C962589D-43B9-4AB3-9DB0-1D3C534122F6}" srcOrd="1" destOrd="0" parTransId="{A4AD9C7F-08CD-4FAD-BFA4-6E0E474DF78C}" sibTransId="{793E0188-9B0C-4400-9C35-D71A8DBA9CED}"/>
    <dgm:cxn modelId="{C6C04FC1-5F5B-44EF-BF22-F76CF4101DD2}" type="presOf" srcId="{D06409C3-E983-401F-907D-5341FDF6E6E2}" destId="{3D683B61-2D61-4F9A-B09E-F576457A5DBB}" srcOrd="0" destOrd="0" presId="urn:microsoft.com/office/officeart/2005/8/layout/chevron2"/>
    <dgm:cxn modelId="{E87FB545-A711-4262-B783-1EBD70135482}" srcId="{0C9441E5-CC27-4031-868A-D3BF43F0C1FC}" destId="{0B07AC4A-1C82-4F78-8204-9655C78A04B0}" srcOrd="0" destOrd="0" parTransId="{4202DF3F-ACA4-438E-BE36-56C45257DB32}" sibTransId="{9A86E932-4219-4C20-9114-58F1CC20EE69}"/>
    <dgm:cxn modelId="{56C546F9-DD21-402C-8464-3F401270D84C}" srcId="{D06409C3-E983-401F-907D-5341FDF6E6E2}" destId="{B7FCA769-14A5-47BE-9EF2-31CACF5CE060}" srcOrd="0" destOrd="0" parTransId="{14C7FC50-2675-4196-8EB0-EC4448F509E8}" sibTransId="{AFD08419-3F0A-4B0F-B644-CA04C5655D59}"/>
    <dgm:cxn modelId="{959D5F14-E1DE-446F-A4EF-017C95750F9F}" type="presOf" srcId="{B2685220-604A-41FB-8D8F-183ACF48F089}" destId="{291DCB3C-3D7F-4E0C-B016-8A1218F58F12}" srcOrd="0" destOrd="2" presId="urn:microsoft.com/office/officeart/2005/8/layout/chevron2"/>
    <dgm:cxn modelId="{2F7917ED-5F68-4E09-A151-1C77B9ECF9A6}" type="presOf" srcId="{B7FCA769-14A5-47BE-9EF2-31CACF5CE060}" destId="{51BF0E4E-1328-471F-BF86-74CD0D6634CB}" srcOrd="0" destOrd="0" presId="urn:microsoft.com/office/officeart/2005/8/layout/chevron2"/>
    <dgm:cxn modelId="{AB29353E-994F-4AEC-B27B-064621B78174}" srcId="{3D17186C-FABD-4D3A-A994-EE8F8A186DF8}" destId="{3CB763E9-8A60-4FAE-8D78-9491E8E1E8A8}" srcOrd="0" destOrd="0" parTransId="{B3748CE3-8DBD-4FB2-9A1E-B80D1D927C78}" sibTransId="{9AB5E6BF-3BEC-4F49-95E8-C6945FE483DE}"/>
    <dgm:cxn modelId="{6E307B9F-FA95-44D5-88BC-EBC77091CED7}" type="presParOf" srcId="{3D683B61-2D61-4F9A-B09E-F576457A5DBB}" destId="{59161D1A-0061-4B95-83C6-567E2CA262AF}" srcOrd="0" destOrd="0" presId="urn:microsoft.com/office/officeart/2005/8/layout/chevron2"/>
    <dgm:cxn modelId="{EDA030A6-9C68-472E-A0EE-E39B65851848}" type="presParOf" srcId="{59161D1A-0061-4B95-83C6-567E2CA262AF}" destId="{51BF0E4E-1328-471F-BF86-74CD0D6634CB}" srcOrd="0" destOrd="0" presId="urn:microsoft.com/office/officeart/2005/8/layout/chevron2"/>
    <dgm:cxn modelId="{DEE01CE1-F08B-47EF-83A2-8E8B405DBC16}" type="presParOf" srcId="{59161D1A-0061-4B95-83C6-567E2CA262AF}" destId="{75D0774B-B988-4DCC-BA13-6FF45E7E8A63}" srcOrd="1" destOrd="0" presId="urn:microsoft.com/office/officeart/2005/8/layout/chevron2"/>
    <dgm:cxn modelId="{F1B673DC-ED45-44CC-8078-B4ED1BA4CB2F}" type="presParOf" srcId="{3D683B61-2D61-4F9A-B09E-F576457A5DBB}" destId="{A1DB7B7F-93FF-4F11-BB7A-90A6FF783B17}" srcOrd="1" destOrd="0" presId="urn:microsoft.com/office/officeart/2005/8/layout/chevron2"/>
    <dgm:cxn modelId="{411CF6DA-0668-4F96-A775-7BA9E6C84542}" type="presParOf" srcId="{3D683B61-2D61-4F9A-B09E-F576457A5DBB}" destId="{DD1C98FA-71B0-4ED9-9687-D4F4B84B199A}" srcOrd="2" destOrd="0" presId="urn:microsoft.com/office/officeart/2005/8/layout/chevron2"/>
    <dgm:cxn modelId="{9A00B57F-BD6B-4E30-9D3B-4FB35ADD110E}" type="presParOf" srcId="{DD1C98FA-71B0-4ED9-9687-D4F4B84B199A}" destId="{A520F3FB-AF84-498C-975B-83B898F0102B}" srcOrd="0" destOrd="0" presId="urn:microsoft.com/office/officeart/2005/8/layout/chevron2"/>
    <dgm:cxn modelId="{627E4708-4B96-43A5-99BE-979993E9BB14}" type="presParOf" srcId="{DD1C98FA-71B0-4ED9-9687-D4F4B84B199A}" destId="{6B77835B-FE9F-4FCA-A157-DA0AD7614970}" srcOrd="1" destOrd="0" presId="urn:microsoft.com/office/officeart/2005/8/layout/chevron2"/>
    <dgm:cxn modelId="{6AF4C4D5-14E6-4476-B9FC-E6713B06BDFD}" type="presParOf" srcId="{3D683B61-2D61-4F9A-B09E-F576457A5DBB}" destId="{9F1996A8-59D2-474F-AB62-373EF0E5B0EE}" srcOrd="3" destOrd="0" presId="urn:microsoft.com/office/officeart/2005/8/layout/chevron2"/>
    <dgm:cxn modelId="{BAB54848-3004-4C7D-9835-CDD7C370C831}" type="presParOf" srcId="{3D683B61-2D61-4F9A-B09E-F576457A5DBB}" destId="{AF08F38E-94EC-44B3-A5C2-24CF9E5A7771}" srcOrd="4" destOrd="0" presId="urn:microsoft.com/office/officeart/2005/8/layout/chevron2"/>
    <dgm:cxn modelId="{AAD7A886-22AF-41CB-A73B-37E7AEA55517}" type="presParOf" srcId="{AF08F38E-94EC-44B3-A5C2-24CF9E5A7771}" destId="{441F3EEA-5A66-4403-AEF8-CAB971CFA7E5}" srcOrd="0" destOrd="0" presId="urn:microsoft.com/office/officeart/2005/8/layout/chevron2"/>
    <dgm:cxn modelId="{B7AC633C-9A0B-42F4-8B9C-38C4F213CC2B}" type="presParOf" srcId="{AF08F38E-94EC-44B3-A5C2-24CF9E5A7771}" destId="{291DCB3C-3D7F-4E0C-B016-8A1218F58F12}" srcOrd="1" destOrd="0" presId="urn:microsoft.com/office/officeart/2005/8/layout/chevron2"/>
    <dgm:cxn modelId="{B75C2F7B-3FF3-4E74-8FB1-01E9CAC7B0BA}" type="presParOf" srcId="{3D683B61-2D61-4F9A-B09E-F576457A5DBB}" destId="{2D0791E9-D5F7-484E-BC3D-18FFC07E554B}" srcOrd="5" destOrd="0" presId="urn:microsoft.com/office/officeart/2005/8/layout/chevron2"/>
    <dgm:cxn modelId="{2F55D69A-6AC3-4344-8C45-F99B27392A14}" type="presParOf" srcId="{3D683B61-2D61-4F9A-B09E-F576457A5DBB}" destId="{6D94A08D-5628-4B77-8E92-8C618B6E5A02}" srcOrd="6" destOrd="0" presId="urn:microsoft.com/office/officeart/2005/8/layout/chevron2"/>
    <dgm:cxn modelId="{664AC035-233A-4B47-BC6F-71A314B3C940}" type="presParOf" srcId="{6D94A08D-5628-4B77-8E92-8C618B6E5A02}" destId="{77A06059-14A1-4883-8527-6CC6464EE535}" srcOrd="0" destOrd="0" presId="urn:microsoft.com/office/officeart/2005/8/layout/chevron2"/>
    <dgm:cxn modelId="{CFD23E17-F28B-4D31-AE6D-5E9FE941E445}" type="presParOf" srcId="{6D94A08D-5628-4B77-8E92-8C618B6E5A02}" destId="{D5408E89-77BF-4135-85B1-B1C4807036AA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BF0E4E-1328-471F-BF86-74CD0D6634CB}">
      <dsp:nvSpPr>
        <dsp:cNvPr id="0" name=""/>
        <dsp:cNvSpPr/>
      </dsp:nvSpPr>
      <dsp:spPr>
        <a:xfrm rot="5400000">
          <a:off x="-271541" y="392351"/>
          <a:ext cx="1055451" cy="51236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r-Latn-CS" sz="500" b="1" kern="1200" dirty="0" smtClean="0"/>
            <a:t>Dark fibre</a:t>
          </a:r>
          <a:endParaRPr lang="en-GB" sz="500" b="1" kern="1200" dirty="0"/>
        </a:p>
      </dsp:txBody>
      <dsp:txXfrm rot="-5400000">
        <a:off x="-1" y="376996"/>
        <a:ext cx="512369" cy="543082"/>
      </dsp:txXfrm>
    </dsp:sp>
    <dsp:sp modelId="{75D0774B-B988-4DCC-BA13-6FF45E7E8A63}">
      <dsp:nvSpPr>
        <dsp:cNvPr id="0" name=""/>
        <dsp:cNvSpPr/>
      </dsp:nvSpPr>
      <dsp:spPr>
        <a:xfrm rot="5400000">
          <a:off x="4065452" y="-3385074"/>
          <a:ext cx="806399" cy="791256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r-Latn-C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Telenor</a:t>
          </a: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 Serbia</a:t>
          </a:r>
          <a:r>
            <a:rPr lang="sr-Latn-R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 and Montenegro</a:t>
          </a: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  </a:t>
          </a:r>
          <a:r>
            <a:rPr lang="sr-Latn-C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fibre network</a:t>
          </a: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 connects the countries of the Balkans region, via several rings, allowing resilient traffic routing </a:t>
          </a:r>
          <a:r>
            <a:rPr lang="sr-Latn-C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endParaRPr lang="en-GB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512369" y="207374"/>
        <a:ext cx="7873201" cy="727669"/>
      </dsp:txXfrm>
    </dsp:sp>
    <dsp:sp modelId="{A520F3FB-AF84-498C-975B-83B898F0102B}">
      <dsp:nvSpPr>
        <dsp:cNvPr id="0" name=""/>
        <dsp:cNvSpPr/>
      </dsp:nvSpPr>
      <dsp:spPr>
        <a:xfrm rot="5400000">
          <a:off x="-264210" y="1295648"/>
          <a:ext cx="1040790" cy="51236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r-Latn-CS" sz="500" b="1" kern="1200" dirty="0" smtClean="0"/>
            <a:t>Wavelength</a:t>
          </a:r>
          <a:r>
            <a:rPr lang="sr-Latn-CS" sz="500" kern="1200" dirty="0" smtClean="0"/>
            <a:t> </a:t>
          </a:r>
          <a:endParaRPr lang="en-GB" sz="500" kern="1200" dirty="0"/>
        </a:p>
      </dsp:txBody>
      <dsp:txXfrm rot="-5400000">
        <a:off x="0" y="1287623"/>
        <a:ext cx="512369" cy="528421"/>
      </dsp:txXfrm>
    </dsp:sp>
    <dsp:sp modelId="{6B77835B-FE9F-4FCA-A157-DA0AD7614970}">
      <dsp:nvSpPr>
        <dsp:cNvPr id="0" name=""/>
        <dsp:cNvSpPr/>
      </dsp:nvSpPr>
      <dsp:spPr>
        <a:xfrm rot="5400000">
          <a:off x="4075931" y="-2459712"/>
          <a:ext cx="785441" cy="791256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Telenor Serbia</a:t>
          </a:r>
          <a:r>
            <a:rPr lang="sr-Latn-RS" sz="1600" kern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and Montenegro</a:t>
          </a:r>
          <a:r>
            <a:rPr lang="en-US" sz="1600" kern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main international </a:t>
          </a:r>
          <a:r>
            <a:rPr lang="en-US" sz="1600" kern="120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PoPs</a:t>
          </a:r>
          <a:r>
            <a:rPr lang="en-US" sz="1600" kern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in Belgrade, Budapest and Sofia are connected via our wavelength network. </a:t>
          </a:r>
          <a:endParaRPr lang="en-GB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512369" y="1142192"/>
        <a:ext cx="7874224" cy="708757"/>
      </dsp:txXfrm>
    </dsp:sp>
    <dsp:sp modelId="{441F3EEA-5A66-4403-AEF8-CAB971CFA7E5}">
      <dsp:nvSpPr>
        <dsp:cNvPr id="0" name=""/>
        <dsp:cNvSpPr/>
      </dsp:nvSpPr>
      <dsp:spPr>
        <a:xfrm rot="5400000">
          <a:off x="-109793" y="2022345"/>
          <a:ext cx="731956" cy="51236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r-Latn-CS" sz="500" b="1" kern="1200" dirty="0" smtClean="0"/>
            <a:t>SDH capacities</a:t>
          </a:r>
          <a:endParaRPr lang="en-GB" sz="500" b="1" kern="1200" dirty="0"/>
        </a:p>
      </dsp:txBody>
      <dsp:txXfrm rot="-5400000">
        <a:off x="1" y="2168737"/>
        <a:ext cx="512369" cy="219587"/>
      </dsp:txXfrm>
    </dsp:sp>
    <dsp:sp modelId="{291DCB3C-3D7F-4E0C-B016-8A1218F58F12}">
      <dsp:nvSpPr>
        <dsp:cNvPr id="0" name=""/>
        <dsp:cNvSpPr/>
      </dsp:nvSpPr>
      <dsp:spPr>
        <a:xfrm rot="5400000">
          <a:off x="4248608" y="-1812952"/>
          <a:ext cx="440088" cy="791256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6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Private l</a:t>
          </a:r>
          <a:r>
            <a:rPr lang="sr-Latn-CS" sz="1600" kern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eased line</a:t>
          </a:r>
          <a:r>
            <a:rPr lang="en-US" sz="1600" kern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options from E1 to STM-64 across Telenor Serbia </a:t>
          </a:r>
          <a:r>
            <a:rPr lang="en-US" sz="1600" kern="120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fibre</a:t>
          </a:r>
          <a:r>
            <a:rPr lang="en-US" sz="1600" kern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rPr>
            <a:t> optic network</a:t>
          </a:r>
          <a:endParaRPr lang="en-GB" sz="16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000" kern="1200" dirty="0"/>
        </a:p>
      </dsp:txBody>
      <dsp:txXfrm rot="-5400000">
        <a:off x="512370" y="1944769"/>
        <a:ext cx="7891083" cy="397122"/>
      </dsp:txXfrm>
    </dsp:sp>
    <dsp:sp modelId="{77A06059-14A1-4883-8527-6CC6464EE535}">
      <dsp:nvSpPr>
        <dsp:cNvPr id="0" name=""/>
        <dsp:cNvSpPr/>
      </dsp:nvSpPr>
      <dsp:spPr>
        <a:xfrm rot="5400000">
          <a:off x="-259946" y="3041782"/>
          <a:ext cx="1032262" cy="51236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r-Latn-CS" sz="500" b="1" kern="1200" dirty="0" smtClean="0"/>
            <a:t>Ethernet solutions</a:t>
          </a:r>
          <a:endParaRPr lang="en-GB" sz="500" b="1" kern="1200" dirty="0"/>
        </a:p>
      </dsp:txBody>
      <dsp:txXfrm rot="-5400000">
        <a:off x="0" y="3038021"/>
        <a:ext cx="512369" cy="519893"/>
      </dsp:txXfrm>
    </dsp:sp>
    <dsp:sp modelId="{D5408E89-77BF-4135-85B1-B1C4807036AA}">
      <dsp:nvSpPr>
        <dsp:cNvPr id="0" name=""/>
        <dsp:cNvSpPr/>
      </dsp:nvSpPr>
      <dsp:spPr>
        <a:xfrm rot="5400000">
          <a:off x="3645292" y="-691134"/>
          <a:ext cx="1646721" cy="791256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Service are delivered via Layer 2 platform for purpose of provisioning of end-to-end connections with SLA secured </a:t>
          </a:r>
          <a:r>
            <a:rPr lang="sr-Latn-C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by MPLS traffic engineering </a:t>
          </a:r>
          <a:endParaRPr lang="en-GB" sz="16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thernet services available across entire network footprint with connectivity ranging from 2Mb</a:t>
          </a:r>
          <a:r>
            <a:rPr lang="sr-Latn-RS" sz="1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s</a:t>
          </a:r>
          <a:r>
            <a:rPr lang="en-US" sz="1600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/s to 10Gb/s</a:t>
          </a:r>
          <a:endParaRPr lang="en-GB" sz="16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0" kern="1200" dirty="0" smtClean="0">
              <a:latin typeface="Arial" panose="020B0604020202020204" pitchFamily="34" charset="0"/>
              <a:cs typeface="Arial" panose="020B0604020202020204" pitchFamily="34" charset="0"/>
            </a:rPr>
            <a:t>Completely redundant networking equipment with dual power supplies and spare units for all critical equipment</a:t>
          </a:r>
          <a:endParaRPr lang="en-GB" sz="16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512370" y="2522174"/>
        <a:ext cx="7832180" cy="14859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9C674C-167E-4FA4-9168-5549101068D9}" type="datetimeFigureOut">
              <a:rPr lang="en-US" smtClean="0"/>
              <a:t>25-Apr-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16F103-D8B0-4871-BDED-83BAF475E5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580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D731B63-EA3C-4C9A-B7FA-CF5AFFD4635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593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E9B73E-2B52-4097-8D8A-78AAE8E48EF4}" type="slidenum">
              <a:rPr lang="sr-Latn-RS" smtClean="0">
                <a:solidFill>
                  <a:prstClr val="black"/>
                </a:solidFill>
              </a:rPr>
              <a:pPr/>
              <a:t>2</a:t>
            </a:fld>
            <a:endParaRPr lang="sr-Latn-R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8053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4588" y="684213"/>
            <a:ext cx="4573587" cy="3430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6DC7FA-E118-4385-B35C-8229DA0FA039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7889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8B22BC-B461-4CDF-9D5E-187306920359}" type="slidenum">
              <a:rPr lang="sr-Latn-RS" smtClean="0">
                <a:solidFill>
                  <a:prstClr val="black"/>
                </a:solidFill>
              </a:rPr>
              <a:pPr/>
              <a:t>9</a:t>
            </a:fld>
            <a:endParaRPr lang="sr-Latn-R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5692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prstClr val="black"/>
                </a:solidFill>
              </a:rPr>
              <a:t>Internal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02E1E2-55EE-4BB1-A4DB-B6DE613DBC36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449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lue&amp;Black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27988" y="188913"/>
            <a:ext cx="974725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3DTransparentLogoFlow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11413" y="981075"/>
            <a:ext cx="6365875" cy="29432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9571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33375" y="6948488"/>
            <a:ext cx="4319588" cy="365125"/>
          </a:xfrm>
          <a:solidFill>
            <a:schemeClr val="bg1"/>
          </a:solidFill>
        </p:spPr>
        <p:txBody>
          <a:bodyPr anchor="b">
            <a:spAutoFit/>
          </a:bodyPr>
          <a:lstStyle>
            <a:lvl1pPr>
              <a:defRPr sz="2400">
                <a:latin typeface="Telenor" pitchFamily="50" charset="-18"/>
              </a:defRPr>
            </a:lvl1pPr>
          </a:lstStyle>
          <a:p>
            <a:r>
              <a:rPr lang="sr-Latn-CS"/>
              <a:t>Macroeconomic bilten</a:t>
            </a:r>
            <a:endParaRPr lang="en-US"/>
          </a:p>
        </p:txBody>
      </p:sp>
      <p:sp>
        <p:nvSpPr>
          <p:cNvPr id="1395717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3375" y="7524750"/>
            <a:ext cx="3995738" cy="212725"/>
          </a:xfrm>
        </p:spPr>
        <p:txBody>
          <a:bodyPr>
            <a:spAutoFit/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sz="1400"/>
            </a:lvl1pPr>
          </a:lstStyle>
          <a:p>
            <a:r>
              <a:rPr lang="sr-Latn-CS"/>
              <a:t>nest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212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r-Latn-C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r-Latn-C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502557-B9E3-485A-9EA5-158AC1AD453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E858C2-E867-41AF-85C4-51204317077B}" type="datetime1">
              <a:rPr lang="en-GB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737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27600" y="431800"/>
            <a:ext cx="1525588" cy="7327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r-Latn-C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50838" y="431800"/>
            <a:ext cx="4424362" cy="73279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r-Latn-C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03BD86-B0B0-4685-9554-FCB39A3408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35FF66-CFA7-4ABD-8B18-DBF72361A829}" type="datetime1">
              <a:rPr lang="en-GB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3898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Cre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7480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9"/>
          <p:cNvSpPr>
            <a:spLocks noGrp="1"/>
          </p:cNvSpPr>
          <p:nvPr>
            <p:ph type="title"/>
          </p:nvPr>
        </p:nvSpPr>
        <p:spPr>
          <a:xfrm>
            <a:off x="360365" y="333375"/>
            <a:ext cx="8408918" cy="898525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74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opic No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8420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3544710" y="11287"/>
            <a:ext cx="2020711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Verdana" pitchFamily="34" charset="0"/>
              <a:buNone/>
            </a:pPr>
            <a:endParaRPr lang="en-GB" sz="1200" dirty="0">
              <a:solidFill>
                <a:srgbClr val="000000"/>
              </a:solidFill>
              <a:latin typeface="Verdana" pitchFamily="34" charset="0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3165902" y="138113"/>
            <a:ext cx="2778325" cy="307777"/>
          </a:xfrm>
          <a:prstGeom prst="rect">
            <a:avLst/>
          </a:prstGeom>
        </p:spPr>
        <p:txBody>
          <a:bodyPr wrap="none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GB" smtClean="0"/>
              <a:t>Click to edit Confidential Tag</a:t>
            </a:r>
            <a:endParaRPr lang="en-GB" dirty="0" smtClean="0"/>
          </a:p>
        </p:txBody>
      </p:sp>
      <p:pic>
        <p:nvPicPr>
          <p:cNvPr id="10" name="Picture 8" descr="Title_page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/>
          <p:nvPr userDrawn="1"/>
        </p:nvSpPr>
        <p:spPr>
          <a:xfrm>
            <a:off x="7066" y="3959225"/>
            <a:ext cx="9144000" cy="14414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259509" y="4175125"/>
            <a:ext cx="8114554" cy="384175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59509" y="4679950"/>
            <a:ext cx="8114554" cy="4222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3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287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803" y="1593849"/>
            <a:ext cx="8412480" cy="4651529"/>
          </a:xfrm>
          <a:prstGeom prst="rect">
            <a:avLst/>
          </a:prstGeom>
        </p:spPr>
        <p:txBody>
          <a:bodyPr lIns="54000" tIns="126000" rIns="54000" bIns="126000"/>
          <a:lstStyle>
            <a:lvl1pPr marL="182563" indent="-182563">
              <a:spcBef>
                <a:spcPts val="600"/>
              </a:spcBef>
              <a:spcAft>
                <a:spcPts val="0"/>
              </a:spcAft>
              <a:defRPr sz="1400">
                <a:latin typeface="+mn-lt"/>
              </a:defRPr>
            </a:lvl1pPr>
            <a:lvl2pPr>
              <a:spcBef>
                <a:spcPts val="600"/>
              </a:spcBef>
              <a:spcAft>
                <a:spcPts val="0"/>
              </a:spcAft>
              <a:buSzPct val="85000"/>
              <a:defRPr sz="1400">
                <a:latin typeface="+mn-lt"/>
              </a:defRPr>
            </a:lvl2pPr>
            <a:lvl3pPr marL="355600" indent="-173038">
              <a:spcBef>
                <a:spcPts val="600"/>
              </a:spcBef>
              <a:spcAft>
                <a:spcPts val="0"/>
              </a:spcAft>
              <a:buSzPct val="85000"/>
              <a:tabLst/>
              <a:defRPr sz="1400">
                <a:latin typeface="+mn-lt"/>
              </a:defRPr>
            </a:lvl3pPr>
            <a:lvl4pPr marL="538163" indent="-176213">
              <a:spcBef>
                <a:spcPts val="600"/>
              </a:spcBef>
              <a:spcAft>
                <a:spcPts val="0"/>
              </a:spcAft>
              <a:buSzPct val="85000"/>
              <a:defRPr sz="1400">
                <a:latin typeface="+mn-lt"/>
              </a:defRPr>
            </a:lvl4pPr>
            <a:lvl5pPr marL="720725" indent="-173038">
              <a:spcBef>
                <a:spcPts val="600"/>
              </a:spcBef>
              <a:spcAft>
                <a:spcPts val="0"/>
              </a:spcAft>
              <a:buSzPct val="85000"/>
              <a:defRPr sz="14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60365" y="361950"/>
            <a:ext cx="8408918" cy="86995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534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re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4232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9"/>
          <p:cNvSpPr>
            <a:spLocks noGrp="1"/>
          </p:cNvSpPr>
          <p:nvPr>
            <p:ph type="title"/>
          </p:nvPr>
        </p:nvSpPr>
        <p:spPr>
          <a:xfrm>
            <a:off x="360365" y="361950"/>
            <a:ext cx="8408918" cy="86995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111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6687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803" y="1593849"/>
            <a:ext cx="8412480" cy="4651529"/>
          </a:xfrm>
          <a:prstGeom prst="rect">
            <a:avLst/>
          </a:prstGeom>
        </p:spPr>
        <p:txBody>
          <a:bodyPr lIns="54000" tIns="126000" rIns="54000" bIns="126000"/>
          <a:lstStyle>
            <a:lvl1pPr marL="182563" indent="-182563">
              <a:spcBef>
                <a:spcPts val="600"/>
              </a:spcBef>
              <a:spcAft>
                <a:spcPts val="0"/>
              </a:spcAft>
              <a:defRPr sz="1400">
                <a:latin typeface="+mn-lt"/>
              </a:defRPr>
            </a:lvl1pPr>
            <a:lvl2pPr>
              <a:spcBef>
                <a:spcPts val="600"/>
              </a:spcBef>
              <a:spcAft>
                <a:spcPts val="0"/>
              </a:spcAft>
              <a:buSzPct val="85000"/>
              <a:defRPr sz="1400">
                <a:latin typeface="+mn-lt"/>
              </a:defRPr>
            </a:lvl2pPr>
            <a:lvl3pPr marL="355600" indent="-173038">
              <a:spcBef>
                <a:spcPts val="600"/>
              </a:spcBef>
              <a:spcAft>
                <a:spcPts val="0"/>
              </a:spcAft>
              <a:buSzPct val="85000"/>
              <a:tabLst/>
              <a:defRPr sz="1400">
                <a:latin typeface="+mn-lt"/>
              </a:defRPr>
            </a:lvl3pPr>
            <a:lvl4pPr marL="538163" indent="-176213">
              <a:spcBef>
                <a:spcPts val="600"/>
              </a:spcBef>
              <a:spcAft>
                <a:spcPts val="0"/>
              </a:spcAft>
              <a:buSzPct val="85000"/>
              <a:defRPr sz="1400">
                <a:latin typeface="+mn-lt"/>
              </a:defRPr>
            </a:lvl4pPr>
            <a:lvl5pPr marL="720725" indent="-173038">
              <a:spcBef>
                <a:spcPts val="600"/>
              </a:spcBef>
              <a:spcAft>
                <a:spcPts val="0"/>
              </a:spcAft>
              <a:buSzPct val="85000"/>
              <a:defRPr sz="14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60365" y="361950"/>
            <a:ext cx="8408918" cy="86995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244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Cre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5547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9"/>
          <p:cNvSpPr>
            <a:spLocks noGrp="1"/>
          </p:cNvSpPr>
          <p:nvPr>
            <p:ph type="title"/>
          </p:nvPr>
        </p:nvSpPr>
        <p:spPr>
          <a:xfrm>
            <a:off x="360365" y="361950"/>
            <a:ext cx="8408918" cy="86995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555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9506" name="Picture 2" descr="3DTransparentLogoFlow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685626"/>
            <a:ext cx="9966326" cy="5532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29509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68316" y="5662615"/>
            <a:ext cx="5327650" cy="215444"/>
          </a:xfrm>
        </p:spPr>
        <p:txBody>
          <a:bodyPr>
            <a:spAutoFit/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sz="14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1429512" name="Picture 8" descr="Blue&amp;Black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733" y="333623"/>
            <a:ext cx="1037448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795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r-Latn-C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C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202ADF-C4AA-473F-8386-D01F2B896C9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9E2862F-25DF-44C6-9DD0-1A5018230762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6" name="Picture 8" descr="Blue&amp;Black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733" y="333623"/>
            <a:ext cx="1037448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6332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r-Latn-C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r-Latn-C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72F040C-30C7-4E92-A51F-979F8AED5A0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0B2708-95E5-420F-8016-EEBA03E52447}" type="datetime1">
              <a:rPr lang="en-GB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841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6" y="4407066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r-Latn-C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6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16" indent="0">
              <a:buNone/>
              <a:defRPr sz="1900"/>
            </a:lvl2pPr>
            <a:lvl3pPr marL="913430" indent="0">
              <a:buNone/>
              <a:defRPr sz="1600"/>
            </a:lvl3pPr>
            <a:lvl4pPr marL="1370134" indent="0">
              <a:buNone/>
              <a:defRPr sz="1400"/>
            </a:lvl4pPr>
            <a:lvl5pPr marL="1826854" indent="0">
              <a:buNone/>
              <a:defRPr sz="1400"/>
            </a:lvl5pPr>
            <a:lvl6pPr marL="2283572" indent="0">
              <a:buNone/>
              <a:defRPr sz="1400"/>
            </a:lvl6pPr>
            <a:lvl7pPr marL="2740281" indent="0">
              <a:buNone/>
              <a:defRPr sz="1400"/>
            </a:lvl7pPr>
            <a:lvl8pPr marL="3196994" indent="0">
              <a:buNone/>
              <a:defRPr sz="1400"/>
            </a:lvl8pPr>
            <a:lvl9pPr marL="365370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A41967-A8BA-4F3C-A291-91989B732BD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B0A54B58-F7B5-4BFA-9D14-CBD19ADBD176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8279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r-Latn-C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628775"/>
            <a:ext cx="3700461" cy="41910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C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21176" y="1628775"/>
            <a:ext cx="3702050" cy="4191000"/>
          </a:xfrm>
        </p:spPr>
        <p:txBody>
          <a:bodyPr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C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064D332-75DD-4DC7-924B-1DDB0D5B0B5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416390F7-2BA4-44B4-B07E-8405ADC46DEB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6018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32" y="274639"/>
            <a:ext cx="8229601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r-Latn-C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6716" indent="0">
              <a:buNone/>
              <a:defRPr sz="2000" b="1"/>
            </a:lvl2pPr>
            <a:lvl3pPr marL="913430" indent="0">
              <a:buNone/>
              <a:defRPr sz="1900" b="1"/>
            </a:lvl3pPr>
            <a:lvl4pPr marL="1370134" indent="0">
              <a:buNone/>
              <a:defRPr sz="1600" b="1"/>
            </a:lvl4pPr>
            <a:lvl5pPr marL="1826854" indent="0">
              <a:buNone/>
              <a:defRPr sz="1600" b="1"/>
            </a:lvl5pPr>
            <a:lvl6pPr marL="2283572" indent="0">
              <a:buNone/>
              <a:defRPr sz="1600" b="1"/>
            </a:lvl6pPr>
            <a:lvl7pPr marL="2740281" indent="0">
              <a:buNone/>
              <a:defRPr sz="1600" b="1"/>
            </a:lvl7pPr>
            <a:lvl8pPr marL="3196994" indent="0">
              <a:buNone/>
              <a:defRPr sz="1600" b="1"/>
            </a:lvl8pPr>
            <a:lvl9pPr marL="36537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C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4" y="1535117"/>
            <a:ext cx="4041774" cy="63976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6716" indent="0">
              <a:buNone/>
              <a:defRPr sz="2000" b="1"/>
            </a:lvl2pPr>
            <a:lvl3pPr marL="913430" indent="0">
              <a:buNone/>
              <a:defRPr sz="1900" b="1"/>
            </a:lvl3pPr>
            <a:lvl4pPr marL="1370134" indent="0">
              <a:buNone/>
              <a:defRPr sz="1600" b="1"/>
            </a:lvl4pPr>
            <a:lvl5pPr marL="1826854" indent="0">
              <a:buNone/>
              <a:defRPr sz="1600" b="1"/>
            </a:lvl5pPr>
            <a:lvl6pPr marL="2283572" indent="0">
              <a:buNone/>
              <a:defRPr sz="1600" b="1"/>
            </a:lvl6pPr>
            <a:lvl7pPr marL="2740281" indent="0">
              <a:buNone/>
              <a:defRPr sz="1600" b="1"/>
            </a:lvl7pPr>
            <a:lvl8pPr marL="3196994" indent="0">
              <a:buNone/>
              <a:defRPr sz="1600" b="1"/>
            </a:lvl8pPr>
            <a:lvl9pPr marL="36537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4" y="2174875"/>
            <a:ext cx="4041774" cy="3951288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C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CDA0FB-B3D8-458B-97AB-230830B26B7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C7C73DAC-D07F-4009-9660-52DCD173026C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8620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r-Latn-C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3C9BB4-F5DE-4626-A838-1F760F62A47C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E738996E-7323-4DCA-9A29-C4233E781033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1136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FE46AB-EDDC-4FBE-BC7B-D1539CCCD0E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EEE5E7B7-0508-4CBF-9E07-C818D033AAE8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4" name="Picture 8" descr="Blue&amp;Black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733" y="333623"/>
            <a:ext cx="1037448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9701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48" y="273206"/>
            <a:ext cx="3008312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r-Latn-C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5" y="273298"/>
            <a:ext cx="511174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C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48" y="1435104"/>
            <a:ext cx="300831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16" indent="0">
              <a:buNone/>
              <a:defRPr sz="1200"/>
            </a:lvl2pPr>
            <a:lvl3pPr marL="913430" indent="0">
              <a:buNone/>
              <a:defRPr sz="1000"/>
            </a:lvl3pPr>
            <a:lvl4pPr marL="1370134" indent="0">
              <a:buNone/>
              <a:defRPr sz="900"/>
            </a:lvl4pPr>
            <a:lvl5pPr marL="1826854" indent="0">
              <a:buNone/>
              <a:defRPr sz="900"/>
            </a:lvl5pPr>
            <a:lvl6pPr marL="2283572" indent="0">
              <a:buNone/>
              <a:defRPr sz="900"/>
            </a:lvl6pPr>
            <a:lvl7pPr marL="2740281" indent="0">
              <a:buNone/>
              <a:defRPr sz="900"/>
            </a:lvl7pPr>
            <a:lvl8pPr marL="3196994" indent="0">
              <a:buNone/>
              <a:defRPr sz="900"/>
            </a:lvl8pPr>
            <a:lvl9pPr marL="36537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0B96068-A589-49C1-BBAA-8766FB03D3A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E9C015C-DD35-440A-9949-03EBD87B9F0B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1118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90" y="4800758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r-Latn-C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90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716" indent="0">
              <a:buNone/>
              <a:defRPr sz="2800"/>
            </a:lvl2pPr>
            <a:lvl3pPr marL="913430" indent="0">
              <a:buNone/>
              <a:defRPr sz="2300"/>
            </a:lvl3pPr>
            <a:lvl4pPr marL="1370134" indent="0">
              <a:buNone/>
              <a:defRPr sz="2000"/>
            </a:lvl4pPr>
            <a:lvl5pPr marL="1826854" indent="0">
              <a:buNone/>
              <a:defRPr sz="2000"/>
            </a:lvl5pPr>
            <a:lvl6pPr marL="2283572" indent="0">
              <a:buNone/>
              <a:defRPr sz="2000"/>
            </a:lvl6pPr>
            <a:lvl7pPr marL="2740281" indent="0">
              <a:buNone/>
              <a:defRPr sz="2000"/>
            </a:lvl7pPr>
            <a:lvl8pPr marL="3196994" indent="0">
              <a:buNone/>
              <a:defRPr sz="2000"/>
            </a:lvl8pPr>
            <a:lvl9pPr marL="3653709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sr-Latn-C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90" y="536757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716" indent="0">
              <a:buNone/>
              <a:defRPr sz="1200"/>
            </a:lvl2pPr>
            <a:lvl3pPr marL="913430" indent="0">
              <a:buNone/>
              <a:defRPr sz="1000"/>
            </a:lvl3pPr>
            <a:lvl4pPr marL="1370134" indent="0">
              <a:buNone/>
              <a:defRPr sz="900"/>
            </a:lvl4pPr>
            <a:lvl5pPr marL="1826854" indent="0">
              <a:buNone/>
              <a:defRPr sz="900"/>
            </a:lvl5pPr>
            <a:lvl6pPr marL="2283572" indent="0">
              <a:buNone/>
              <a:defRPr sz="900"/>
            </a:lvl6pPr>
            <a:lvl7pPr marL="2740281" indent="0">
              <a:buNone/>
              <a:defRPr sz="900"/>
            </a:lvl7pPr>
            <a:lvl8pPr marL="3196994" indent="0">
              <a:buNone/>
              <a:defRPr sz="900"/>
            </a:lvl8pPr>
            <a:lvl9pPr marL="36537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55C9018-16D1-4CDE-A728-9957D4C3F17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009FDEFD-D753-46AB-86B4-6796DB774A72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4170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r-Latn-C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C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F679DA8-13FB-48BD-B124-FA43BD5F2B9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BB092DD6-017E-4F5F-9390-2E4FA215923E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4578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240485" y="466882"/>
            <a:ext cx="1922462" cy="535305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r-Latn-C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33" y="466882"/>
            <a:ext cx="5619751" cy="535305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C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28E4BB-F191-4D57-BADE-F69BAF27F51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fld id="{19C7A7B2-D576-4A47-8046-E549B546FA41}" type="datetime1">
              <a:rPr lang="sr-Latn-RS" smtClean="0">
                <a:solidFill>
                  <a:srgbClr val="000000"/>
                </a:solidFill>
              </a:rPr>
              <a:pPr/>
              <a:t>25.4.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4068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351608"/>
            <a:ext cx="8224982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61820" y="1677172"/>
            <a:ext cx="8224981" cy="4203315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FE2C6-5802-4807-BEBB-B22D95A4FF5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2352676" y="6356352"/>
            <a:ext cx="52673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8" descr="Blue&amp;Black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733" y="333623"/>
            <a:ext cx="1037448" cy="703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84656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sr-Latn-C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27DBA2-307E-413C-98E6-C13FB043C51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F22C8C-E31B-4528-8AEB-28D3B51B6F81}" type="datetime1">
              <a:rPr lang="en-GB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0387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25" y="341313"/>
            <a:ext cx="8308731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3225" y="1268413"/>
            <a:ext cx="8308731" cy="5040312"/>
          </a:xfrm>
        </p:spPr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F180C-9072-417B-926D-586E1A38041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6550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Title_pag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8"/>
          <p:cNvSpPr/>
          <p:nvPr/>
        </p:nvSpPr>
        <p:spPr>
          <a:xfrm>
            <a:off x="0" y="3959225"/>
            <a:ext cx="9144000" cy="14414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4609" y="3959225"/>
            <a:ext cx="8114554" cy="942975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4609" y="4978399"/>
            <a:ext cx="8114554" cy="422275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E82826-BE1E-49C1-899A-DEEE82813880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9" name="Picture 8" descr="TEL_h_pos_3D_4cp_25m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6216813"/>
            <a:ext cx="1104900" cy="53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6905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/>
          <p:nvPr/>
        </p:nvSpPr>
        <p:spPr>
          <a:xfrm>
            <a:off x="215900" y="215900"/>
            <a:ext cx="8712200" cy="5903913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819" y="351608"/>
            <a:ext cx="8224982" cy="1143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1819" y="1677170"/>
            <a:ext cx="8224981" cy="4203315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FFFFFF"/>
                </a:solidFill>
              </a:defRPr>
            </a:lvl1pPr>
            <a:lvl2pPr>
              <a:buFont typeface="Arial"/>
              <a:buChar char="•"/>
              <a:defRPr>
                <a:solidFill>
                  <a:srgbClr val="FFFFFF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FFFFFF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FFFFFF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dirty="0" smtClean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AA0A42-10F1-41F1-8F5E-7F550AFAF6D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0439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215900" y="6119813"/>
            <a:ext cx="8712200" cy="1587"/>
          </a:xfrm>
          <a:prstGeom prst="line">
            <a:avLst/>
          </a:prstGeom>
          <a:ln w="12700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351608"/>
            <a:ext cx="8224982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61819" y="1677170"/>
            <a:ext cx="8224981" cy="4203315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C9023F5-5F04-4B0D-A6F7-CEC83EA2BCE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3878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 Title an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215900" y="215900"/>
            <a:ext cx="8712200" cy="5903913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4500563" y="0"/>
            <a:ext cx="142875" cy="61912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Content Placeholder 2"/>
          <p:cNvSpPr>
            <a:spLocks noGrp="1" noChangeAspect="1"/>
          </p:cNvSpPr>
          <p:nvPr>
            <p:ph idx="13"/>
          </p:nvPr>
        </p:nvSpPr>
        <p:spPr>
          <a:xfrm>
            <a:off x="4643438" y="215900"/>
            <a:ext cx="4284662" cy="5903913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buFont typeface="Arial"/>
              <a:buChar char="•"/>
              <a:defRPr>
                <a:solidFill>
                  <a:srgbClr val="FFFFFF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+mj-lt"/>
              <a:buAutoNum type="arabicPeriod"/>
              <a:defRPr>
                <a:solidFill>
                  <a:srgbClr val="FFFFFF"/>
                </a:solidFill>
              </a:defRPr>
            </a:lvl3pPr>
            <a:lvl4pPr marL="720000">
              <a:buFont typeface="Wingdings" charset="2"/>
              <a:buChar char="§"/>
              <a:defRPr>
                <a:solidFill>
                  <a:srgbClr val="FFFFFF"/>
                </a:solidFill>
              </a:defRPr>
            </a:lvl4pPr>
            <a:lvl5pPr marL="1080000" indent="-18000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1819" y="351608"/>
            <a:ext cx="3794605" cy="1143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61819" y="1677170"/>
            <a:ext cx="3794605" cy="4203315"/>
          </a:xfrm>
        </p:spPr>
        <p:txBody>
          <a:bodyPr/>
          <a:lstStyle>
            <a:lvl1pPr marL="180000" indent="-180000">
              <a:buFont typeface="Arial"/>
              <a:buChar char="•"/>
              <a:defRPr baseline="0">
                <a:solidFill>
                  <a:srgbClr val="FFFFFF"/>
                </a:solidFill>
              </a:defRPr>
            </a:lvl1pPr>
            <a:lvl2pPr>
              <a:buFont typeface="Arial"/>
              <a:buChar char="•"/>
              <a:defRPr>
                <a:solidFill>
                  <a:srgbClr val="FFFFFF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FFFFFF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FFFFFF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E6DF34A-6DF7-4FB9-9257-7605CC7ABB4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1269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215900" y="215900"/>
            <a:ext cx="8712200" cy="5903913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61819" y="351608"/>
            <a:ext cx="8224982" cy="1143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61819" y="1677170"/>
            <a:ext cx="4017817" cy="4203315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FFFFFF"/>
                </a:solidFill>
              </a:defRPr>
            </a:lvl1pPr>
            <a:lvl2pPr>
              <a:buFont typeface="Arial"/>
              <a:buChar char="•"/>
              <a:defRPr>
                <a:solidFill>
                  <a:srgbClr val="FFFFFF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FFFFFF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FFFFFF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4668984" y="1677170"/>
            <a:ext cx="4017817" cy="4203315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FFFFFF"/>
                </a:solidFill>
              </a:defRPr>
            </a:lvl1pPr>
            <a:lvl2pPr>
              <a:buFont typeface="Arial"/>
              <a:buChar char="•"/>
              <a:defRPr>
                <a:solidFill>
                  <a:srgbClr val="FFFFFF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FFFFFF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FFFFFF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83A1AD3A-7FA6-4141-8DA7-38960F0AEEA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2691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4500563" y="0"/>
            <a:ext cx="142875" cy="61912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351608"/>
            <a:ext cx="8224982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61819" y="1677170"/>
            <a:ext cx="4017817" cy="4203315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2" name="Content Placeholder 2"/>
          <p:cNvSpPr>
            <a:spLocks noGrp="1"/>
          </p:cNvSpPr>
          <p:nvPr>
            <p:ph idx="17"/>
          </p:nvPr>
        </p:nvSpPr>
        <p:spPr>
          <a:xfrm>
            <a:off x="4668984" y="1677170"/>
            <a:ext cx="4017817" cy="4203315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2ED28F6C-471A-49D5-A2F5-A54690FF24A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0244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/>
          <p:nvPr/>
        </p:nvCxnSpPr>
        <p:spPr>
          <a:xfrm>
            <a:off x="215900" y="6119813"/>
            <a:ext cx="8712200" cy="1587"/>
          </a:xfrm>
          <a:prstGeom prst="line">
            <a:avLst/>
          </a:prstGeom>
          <a:ln w="12700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14A8F01-7D29-4868-9B02-202CE11269B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163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/>
          <p:nvPr/>
        </p:nvSpPr>
        <p:spPr>
          <a:xfrm>
            <a:off x="215900" y="215900"/>
            <a:ext cx="8712200" cy="5903913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81AD170-F779-42BB-954D-98FDB93DD80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4007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215900" y="6119813"/>
            <a:ext cx="8712200" cy="1587"/>
          </a:xfrm>
          <a:prstGeom prst="line">
            <a:avLst/>
          </a:prstGeom>
          <a:ln w="12700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351608"/>
            <a:ext cx="8224982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C9023F5-5F04-4B0D-A6F7-CEC83EA2BCE0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640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r-Latn-C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0838" y="2171700"/>
            <a:ext cx="2974975" cy="5588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r-Latn-C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8213" y="2171700"/>
            <a:ext cx="2974975" cy="5588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r-Latn-C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A26C07-18D8-49E8-9E57-5E7015E3379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336711-1498-4DC6-AC7B-48C83A396EE4}" type="datetime1">
              <a:rPr lang="en-GB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6341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/>
          <p:nvPr/>
        </p:nvSpPr>
        <p:spPr>
          <a:xfrm>
            <a:off x="215900" y="215900"/>
            <a:ext cx="8712200" cy="5903913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819" y="351608"/>
            <a:ext cx="8224982" cy="1143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AA0A42-10F1-41F1-8F5E-7F550AFAF6D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7226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Cre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1325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Logo flow_flip_blue"/>
          <p:cNvPicPr>
            <a:picLocks noChangeAspect="1" noChangeArrowheads="1"/>
          </p:cNvPicPr>
          <p:nvPr userDrawn="1"/>
        </p:nvPicPr>
        <p:blipFill>
          <a:blip r:embed="rId5" cstate="print"/>
          <a:srcRect r="10674" b="6787"/>
          <a:stretch>
            <a:fillRect/>
          </a:stretch>
        </p:blipFill>
        <p:spPr bwMode="auto">
          <a:xfrm>
            <a:off x="3417888" y="2170113"/>
            <a:ext cx="5726112" cy="468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360363" y="1593850"/>
            <a:ext cx="5903447" cy="30342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 smtClean="0"/>
              <a:t>Click icon to add table</a:t>
            </a:r>
            <a:endParaRPr lang="en-GB" dirty="0"/>
          </a:p>
        </p:txBody>
      </p:sp>
      <p:sp>
        <p:nvSpPr>
          <p:cNvPr id="7" name="Title 9"/>
          <p:cNvSpPr>
            <a:spLocks noGrp="1"/>
          </p:cNvSpPr>
          <p:nvPr>
            <p:ph type="title"/>
          </p:nvPr>
        </p:nvSpPr>
        <p:spPr>
          <a:xfrm>
            <a:off x="360365" y="333375"/>
            <a:ext cx="8408918" cy="898525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8252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4543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803" y="1593849"/>
            <a:ext cx="8412480" cy="4651529"/>
          </a:xfrm>
          <a:prstGeom prst="rect">
            <a:avLst/>
          </a:prstGeom>
        </p:spPr>
        <p:txBody>
          <a:bodyPr lIns="54000" tIns="126000" rIns="54000" bIns="126000"/>
          <a:lstStyle>
            <a:lvl1pPr marL="182563" indent="-182563">
              <a:spcBef>
                <a:spcPts val="600"/>
              </a:spcBef>
              <a:spcAft>
                <a:spcPts val="0"/>
              </a:spcAft>
              <a:defRPr sz="1400">
                <a:latin typeface="+mn-lt"/>
              </a:defRPr>
            </a:lvl1pPr>
            <a:lvl2pPr>
              <a:spcBef>
                <a:spcPts val="600"/>
              </a:spcBef>
              <a:spcAft>
                <a:spcPts val="0"/>
              </a:spcAft>
              <a:buSzPct val="85000"/>
              <a:defRPr sz="1400">
                <a:latin typeface="+mn-lt"/>
              </a:defRPr>
            </a:lvl2pPr>
            <a:lvl3pPr marL="355600" indent="-173038">
              <a:spcBef>
                <a:spcPts val="600"/>
              </a:spcBef>
              <a:spcAft>
                <a:spcPts val="0"/>
              </a:spcAft>
              <a:buSzPct val="85000"/>
              <a:tabLst/>
              <a:defRPr sz="1400">
                <a:latin typeface="+mn-lt"/>
              </a:defRPr>
            </a:lvl3pPr>
            <a:lvl4pPr marL="538163" indent="-176213">
              <a:spcBef>
                <a:spcPts val="600"/>
              </a:spcBef>
              <a:spcAft>
                <a:spcPts val="0"/>
              </a:spcAft>
              <a:buSzPct val="85000"/>
              <a:defRPr sz="1400">
                <a:latin typeface="+mn-lt"/>
              </a:defRPr>
            </a:lvl4pPr>
            <a:lvl5pPr marL="720725" indent="-173038">
              <a:spcBef>
                <a:spcPts val="600"/>
              </a:spcBef>
              <a:spcAft>
                <a:spcPts val="0"/>
              </a:spcAft>
              <a:buSzPct val="85000"/>
              <a:defRPr sz="14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60365" y="361950"/>
            <a:ext cx="8408918" cy="86995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63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Cre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235855"/>
              </p:ext>
            </p:extLst>
          </p:nvPr>
        </p:nvGraphicFramePr>
        <p:xfrm>
          <a:off x="6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9"/>
          <p:cNvSpPr>
            <a:spLocks noGrp="1"/>
          </p:cNvSpPr>
          <p:nvPr>
            <p:ph type="title"/>
          </p:nvPr>
        </p:nvSpPr>
        <p:spPr>
          <a:xfrm>
            <a:off x="360371" y="361950"/>
            <a:ext cx="8408919" cy="86995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321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 Cre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125911"/>
              </p:ext>
            </p:extLst>
          </p:nvPr>
        </p:nvGraphicFramePr>
        <p:xfrm>
          <a:off x="6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9"/>
          <p:cNvSpPr>
            <a:spLocks noGrp="1"/>
          </p:cNvSpPr>
          <p:nvPr>
            <p:ph type="title"/>
          </p:nvPr>
        </p:nvSpPr>
        <p:spPr>
          <a:xfrm>
            <a:off x="360371" y="361950"/>
            <a:ext cx="8408919" cy="86995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399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sr-Latn-C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r-Latn-C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r-Latn-C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C97214-697D-4A89-8E24-C8FC21B779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01C9F7-3FBD-4233-B780-F4FCAE5B0589}" type="datetime1">
              <a:rPr lang="en-GB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275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r-Latn-C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6817B8-CBFC-4736-AE05-482DEA1D96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4A3455-59C4-4810-9398-4BA3854DCCF3}" type="datetime1">
              <a:rPr lang="en-GB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1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28596" y="6562748"/>
            <a:ext cx="498475" cy="152400"/>
          </a:xfrm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CBF487F-C86C-41A7-AE52-3E75503CB65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1"/>
          </p:nvPr>
        </p:nvSpPr>
        <p:spPr>
          <a:xfrm>
            <a:off x="3643306" y="6561160"/>
            <a:ext cx="2133600" cy="153988"/>
          </a:xfrm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4D2ECC-C6A8-4D55-8091-211E0DE92567}" type="datetime1">
              <a:rPr lang="en-GB" smtClean="0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8140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sr-Latn-C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r-Latn-C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DA5AD-CF53-426A-A28A-101F5AC81B2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DCFD03-329C-4ADC-AF4A-6A37934D5ED9}" type="datetime1">
              <a:rPr lang="en-GB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5337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sr-Latn-C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r-Latn-C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B028B8-B237-4AD1-B2B6-E14292520A0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FA41EE-C589-47EF-BBA8-CBA1A9895C7D}" type="datetime1">
              <a:rPr lang="en-GB">
                <a:solidFill>
                  <a:srgbClr val="000000"/>
                </a:solidFill>
              </a:rPr>
              <a:pPr>
                <a:defRPr/>
              </a:pPr>
              <a:t>25/04/201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8855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vmlDrawing" Target="../drawings/vmlDrawing9.v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70444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23850"/>
            <a:ext cx="8040687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628775"/>
            <a:ext cx="8135937" cy="4191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946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28596" y="6562748"/>
            <a:ext cx="498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AE76B45-EC8F-43B6-81D6-27740088CB78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9469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643306" y="6561160"/>
            <a:ext cx="2133600" cy="1539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E4B1910-53A5-4112-874D-0C3EDA841583}" type="datetime1">
              <a:rPr lang="en-GB" smtClean="0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/04/2016</a:t>
            </a:fld>
            <a:endParaRPr lang="en-GB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2" name="Picture 11" descr="Blue&amp;Black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730653" y="6237312"/>
            <a:ext cx="1127627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91504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 sz="2800"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fontAlgn="base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fontAlgn="base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fontAlgn="base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fontAlgn="base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248221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5" descr="C:\Users\dpetrovic\AppData\Local\Microsoft\Windows\Temporary Internet Files\Content.IE5\53FU7LW7\TEL_h_pos_3D_c_25mm.jp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80151" y="6399836"/>
            <a:ext cx="658891" cy="295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10"/>
          <p:cNvSpPr txBox="1">
            <a:spLocks/>
          </p:cNvSpPr>
          <p:nvPr userDrawn="1"/>
        </p:nvSpPr>
        <p:spPr bwMode="auto">
          <a:xfrm>
            <a:off x="8464443" y="6234028"/>
            <a:ext cx="603357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2B6F0A96-2029-4B0E-A29C-2316D5CCFC85}" type="slidenum">
              <a:rPr lang="en-GB" sz="1400" b="1">
                <a:solidFill>
                  <a:srgbClr val="000000"/>
                </a:solidFill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sr-Latn-RS" sz="600" b="1" dirty="0">
                <a:solidFill>
                  <a:srgbClr val="000000"/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8797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aseline="0">
          <a:solidFill>
            <a:schemeClr val="tx1"/>
          </a:solidFill>
          <a:latin typeface="Verdana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itchFamily="34" charset="0"/>
        </a:defRPr>
      </a:lvl9pPr>
    </p:titleStyle>
    <p:bodyStyle>
      <a:lvl1pPr marL="182563" indent="-182563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defRPr sz="1400">
          <a:solidFill>
            <a:schemeClr val="tx1"/>
          </a:solidFill>
          <a:latin typeface="Verdana" pitchFamily="34" charset="0"/>
          <a:ea typeface="+mn-ea"/>
          <a:cs typeface="Arial" pitchFamily="34" charset="0"/>
        </a:defRPr>
      </a:lvl1pPr>
      <a:lvl2pPr marL="182563" indent="-180975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•"/>
        <a:defRPr sz="1400">
          <a:solidFill>
            <a:schemeClr val="tx1"/>
          </a:solidFill>
          <a:latin typeface="Verdana" pitchFamily="34" charset="0"/>
          <a:cs typeface="Arial" pitchFamily="34" charset="0"/>
        </a:defRPr>
      </a:lvl2pPr>
      <a:lvl3pPr marL="355600" indent="-179388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 baseline="0">
          <a:solidFill>
            <a:schemeClr val="tx1"/>
          </a:solidFill>
          <a:latin typeface="Verdana" pitchFamily="34" charset="0"/>
          <a:cs typeface="Arial" pitchFamily="34" charset="0"/>
        </a:defRPr>
      </a:lvl3pPr>
      <a:lvl4pPr marL="538163" indent="-176213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Char char="–"/>
        <a:defRPr sz="1400" baseline="0">
          <a:solidFill>
            <a:schemeClr val="tx1"/>
          </a:solidFill>
          <a:latin typeface="Verdana" pitchFamily="34" charset="0"/>
          <a:cs typeface="Arial" pitchFamily="34" charset="0"/>
        </a:defRPr>
      </a:lvl4pPr>
      <a:lvl5pPr marL="720725" indent="-173038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Verdana" pitchFamily="34" charset="0"/>
          <a:cs typeface="Arial" pitchFamily="34" charset="0"/>
        </a:defRPr>
      </a:lvl5pPr>
      <a:lvl6pPr marL="1543050" indent="-269875" algn="l" rtl="0" eaLnBrk="1" fontAlgn="base" hangingPunct="1">
        <a:spcBef>
          <a:spcPct val="0"/>
        </a:spcBef>
        <a:spcAft>
          <a:spcPct val="0"/>
        </a:spcAft>
        <a:buClr>
          <a:schemeClr val="tx1"/>
        </a:buClr>
        <a:buNone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98343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84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8" y="466725"/>
            <a:ext cx="7694613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4284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7" y="1628775"/>
            <a:ext cx="7554912" cy="4191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28484" name="Rectangle 4"/>
          <p:cNvSpPr>
            <a:spLocks noChangeArrowheads="1"/>
          </p:cNvSpPr>
          <p:nvPr/>
        </p:nvSpPr>
        <p:spPr bwMode="auto">
          <a:xfrm>
            <a:off x="1" y="6248400"/>
            <a:ext cx="9144000" cy="6096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342" tIns="45671" rIns="91342" bIns="45671" anchor="ctr"/>
          <a:lstStyle/>
          <a:p>
            <a:pPr algn="ctr" defTabSz="913430" fontAlgn="base">
              <a:spcBef>
                <a:spcPct val="50000"/>
              </a:spcBef>
              <a:spcAft>
                <a:spcPct val="0"/>
              </a:spcAft>
            </a:pPr>
            <a:endParaRPr lang="sr-Latn-CS" sz="19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42848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575" y="6589713"/>
            <a:ext cx="5000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/>
            </a:lvl1pPr>
          </a:lstStyle>
          <a:p>
            <a:pPr defTabSz="913430" fontAlgn="base">
              <a:spcAft>
                <a:spcPct val="0"/>
              </a:spcAft>
            </a:pPr>
            <a:fld id="{1631E57E-E341-4FB4-A1E4-FD036C1B3B81}" type="slidenum">
              <a:rPr lang="en-US">
                <a:solidFill>
                  <a:srgbClr val="000000"/>
                </a:solidFill>
                <a:ea typeface="ＭＳ Ｐゴシック" pitchFamily="34" charset="-128"/>
              </a:rPr>
              <a:pPr defTabSz="913430"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428486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6588127"/>
            <a:ext cx="2133600" cy="1539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/>
            </a:lvl1pPr>
          </a:lstStyle>
          <a:p>
            <a:pPr defTabSz="913430" fontAlgn="base">
              <a:spcAft>
                <a:spcPct val="0"/>
              </a:spcAft>
            </a:pPr>
            <a:fld id="{19FFC711-254B-43B7-B265-E863EDDA4E5A}" type="datetime1">
              <a:rPr lang="sr-Latn-RS" smtClean="0">
                <a:solidFill>
                  <a:srgbClr val="000000"/>
                </a:solidFill>
                <a:ea typeface="ＭＳ Ｐゴシック" pitchFamily="34" charset="-128"/>
              </a:rPr>
              <a:pPr defTabSz="913430" fontAlgn="base">
                <a:spcAft>
                  <a:spcPct val="0"/>
                </a:spcAft>
              </a:pPr>
              <a:t>25.4.2016</a:t>
            </a:fld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428496" name="Picture 16" descr="Blue&amp;Black"/>
          <p:cNvPicPr>
            <a:picLocks noChangeAspect="1" noChangeArrowheads="1"/>
          </p:cNvPicPr>
          <p:nvPr userDrawn="1"/>
        </p:nvPicPr>
        <p:blipFill>
          <a:blip cstate="print"/>
          <a:srcRect/>
          <a:stretch>
            <a:fillRect/>
          </a:stretch>
        </p:blipFill>
        <p:spPr bwMode="auto">
          <a:xfrm>
            <a:off x="7696206" y="6254751"/>
            <a:ext cx="1104900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0292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6716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343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0134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6854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171" indent="-269584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338" indent="-269584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3523" indent="-269584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4695" indent="-269584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1407" indent="-269584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1998121" indent="-269584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4837" indent="-269584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1549" indent="-269584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sr-Latn-CS"/>
      </a:defPPr>
      <a:lvl1pPr marL="0" algn="l" defTabSz="913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16" algn="l" defTabSz="913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30" algn="l" defTabSz="913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34" algn="l" defTabSz="913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54" algn="l" defTabSz="913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72" algn="l" defTabSz="913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281" algn="l" defTabSz="913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994" algn="l" defTabSz="913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09" algn="l" defTabSz="913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98513" y="274638"/>
            <a:ext cx="7888287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98513" y="1600200"/>
            <a:ext cx="7888287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Here is the Master content when you would go into the first line of text and the sentence is long enough to spill into the second line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20000" y="6356350"/>
            <a:ext cx="919163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52675" y="6356350"/>
            <a:ext cx="52673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b="0" i="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457200">
              <a:defRPr/>
            </a:pP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9163" y="6356350"/>
            <a:ext cx="388937" cy="3651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51209C0-16A0-4EF5-9D95-2BE545C9FF0B}" type="slidenum">
              <a:rPr lang="en-US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ea typeface="ＭＳ Ｐゴシック" pitchFamily="34" charset="-128"/>
            </a:endParaRPr>
          </a:p>
        </p:txBody>
      </p:sp>
      <p:pic>
        <p:nvPicPr>
          <p:cNvPr id="9" name="Picture 8" descr="TEL_h_pos_3D_4cp_25mm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54" y="6216813"/>
            <a:ext cx="1104900" cy="53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140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hf sldNum="0"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rgbClr val="000000"/>
          </a:solidFill>
          <a:latin typeface="Arial"/>
          <a:ea typeface="ＭＳ Ｐゴシック" charset="-128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Arial" charset="0"/>
          <a:ea typeface="ＭＳ Ｐゴシック" charset="-128"/>
        </a:defRPr>
      </a:lvl9pPr>
    </p:titleStyle>
    <p:bodyStyle>
      <a:lvl1pPr marL="73025" indent="-73025" algn="l" defTabSz="457200" rtl="0" eaLnBrk="1" fontAlgn="base" hangingPunct="1">
        <a:spcBef>
          <a:spcPts val="600"/>
        </a:spcBef>
        <a:spcAft>
          <a:spcPct val="0"/>
        </a:spcAft>
        <a:buSzPct val="120000"/>
        <a:buFont typeface="Arial" pitchFamily="34" charset="0"/>
        <a:defRPr kern="1200">
          <a:solidFill>
            <a:srgbClr val="000000"/>
          </a:solidFill>
          <a:latin typeface="Arial"/>
          <a:ea typeface="ＭＳ Ｐゴシック" charset="-128"/>
          <a:cs typeface="Arial"/>
        </a:defRPr>
      </a:lvl1pPr>
      <a:lvl2pPr marL="358775" indent="-179388" algn="l" defTabSz="457200" rtl="0" eaLnBrk="1" fontAlgn="base" hangingPunct="1">
        <a:spcBef>
          <a:spcPct val="20000"/>
        </a:spcBef>
        <a:spcAft>
          <a:spcPct val="0"/>
        </a:spcAft>
        <a:buSzPct val="140000"/>
        <a:buFont typeface="Arial" pitchFamily="34" charset="0"/>
        <a:buChar char="•"/>
        <a:defRPr kern="1200">
          <a:solidFill>
            <a:srgbClr val="000000"/>
          </a:solidFill>
          <a:latin typeface="Arial"/>
          <a:ea typeface="ＭＳ Ｐゴシック" charset="-128"/>
          <a:cs typeface="Arial"/>
        </a:defRPr>
      </a:lvl2pPr>
      <a:lvl3pPr marL="539750" indent="-179388" algn="l" defTabSz="457200" rtl="0" eaLnBrk="1" fontAlgn="base" hangingPunct="1">
        <a:spcBef>
          <a:spcPct val="20000"/>
        </a:spcBef>
        <a:spcAft>
          <a:spcPct val="0"/>
        </a:spcAft>
        <a:buSzPct val="100000"/>
        <a:buFont typeface="Lucida Grande" pitchFamily="-84" charset="0"/>
        <a:buChar char="–"/>
        <a:defRPr sz="1600" kern="1200">
          <a:solidFill>
            <a:srgbClr val="000000"/>
          </a:solidFill>
          <a:latin typeface="Arial"/>
          <a:ea typeface="ＭＳ Ｐゴシック" charset="-128"/>
          <a:cs typeface="Arial"/>
        </a:defRPr>
      </a:lvl3pPr>
      <a:lvl4pPr marL="719138" indent="-179388" algn="l" defTabSz="457200" rtl="0" eaLnBrk="1" fontAlgn="base" hangingPunct="1">
        <a:spcBef>
          <a:spcPts val="600"/>
        </a:spcBef>
        <a:spcAft>
          <a:spcPct val="0"/>
        </a:spcAft>
        <a:buFont typeface="Calibri" pitchFamily="34" charset="0"/>
        <a:buAutoNum type="arabicPeriod"/>
        <a:defRPr sz="1400" kern="1200">
          <a:solidFill>
            <a:srgbClr val="000000"/>
          </a:solidFill>
          <a:latin typeface="Arial"/>
          <a:ea typeface="ＭＳ Ｐゴシック" charset="-128"/>
          <a:cs typeface="Arial"/>
        </a:defRPr>
      </a:lvl4pPr>
      <a:lvl5pPr marL="898525" indent="-179388" algn="l" defTabSz="457200" rtl="0" eaLnBrk="1" fontAlgn="base" hangingPunct="1">
        <a:spcBef>
          <a:spcPct val="20000"/>
        </a:spcBef>
        <a:spcAft>
          <a:spcPct val="0"/>
        </a:spcAft>
        <a:buFont typeface="Calibri" pitchFamily="34" charset="0"/>
        <a:buAutoNum type="alphaLcPeriod"/>
        <a:defRPr sz="1200" kern="1200">
          <a:solidFill>
            <a:schemeClr val="tx1"/>
          </a:solidFill>
          <a:latin typeface="Arial"/>
          <a:ea typeface="ＭＳ Ｐゴシック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oleObject" Target="../embeddings/oleObject21.bin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21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image" Target="../media/image51.jpg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52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0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08.xml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image" Target="../media/image54.png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53.jpeg"/><Relationship Id="rId2" Type="http://schemas.openxmlformats.org/officeDocument/2006/relationships/tags" Target="../tags/tag114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18.xml"/><Relationship Id="rId11" Type="http://schemas.openxmlformats.org/officeDocument/2006/relationships/image" Target="../media/image13.emf"/><Relationship Id="rId5" Type="http://schemas.openxmlformats.org/officeDocument/2006/relationships/tags" Target="../tags/tag117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16.xml"/><Relationship Id="rId9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image" Target="../media/image55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25.xml"/><Relationship Id="rId11" Type="http://schemas.openxmlformats.org/officeDocument/2006/relationships/image" Target="../media/image13.emf"/><Relationship Id="rId5" Type="http://schemas.openxmlformats.org/officeDocument/2006/relationships/tags" Target="../tags/tag124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23.xml"/><Relationship Id="rId9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diagramLayout" Target="../diagrams/layout1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diagramData" Target="../diagrams/data1.xml"/><Relationship Id="rId17" Type="http://schemas.openxmlformats.org/officeDocument/2006/relationships/image" Target="../media/image56.jpeg"/><Relationship Id="rId2" Type="http://schemas.openxmlformats.org/officeDocument/2006/relationships/tags" Target="../tags/tag128.xml"/><Relationship Id="rId16" Type="http://schemas.microsoft.com/office/2007/relationships/diagramDrawing" Target="../diagrams/drawing1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32.xml"/><Relationship Id="rId11" Type="http://schemas.openxmlformats.org/officeDocument/2006/relationships/image" Target="../media/image13.emf"/><Relationship Id="rId5" Type="http://schemas.openxmlformats.org/officeDocument/2006/relationships/tags" Target="../tags/tag131.xml"/><Relationship Id="rId15" Type="http://schemas.openxmlformats.org/officeDocument/2006/relationships/diagramColors" Target="../diagrams/colors1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30.xml"/><Relationship Id="rId9" Type="http://schemas.openxmlformats.org/officeDocument/2006/relationships/slideLayout" Target="../slideLayouts/slideLayout2.xml"/><Relationship Id="rId1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image" Target="../media/image58.jpeg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image" Target="../media/image57.jpeg"/><Relationship Id="rId2" Type="http://schemas.openxmlformats.org/officeDocument/2006/relationships/tags" Target="../tags/tag135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39.xml"/><Relationship Id="rId11" Type="http://schemas.openxmlformats.org/officeDocument/2006/relationships/image" Target="../media/image13.emf"/><Relationship Id="rId5" Type="http://schemas.openxmlformats.org/officeDocument/2006/relationships/tags" Target="../tags/tag138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37.xml"/><Relationship Id="rId9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microsoft.com/office/2007/relationships/hdphoto" Target="../media/hdphoto1.wdp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8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6.bin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13" Type="http://schemas.openxmlformats.org/officeDocument/2006/relationships/image" Target="../media/image28.jpg"/><Relationship Id="rId3" Type="http://schemas.openxmlformats.org/officeDocument/2006/relationships/tags" Target="../tags/tag20.xml"/><Relationship Id="rId7" Type="http://schemas.openxmlformats.org/officeDocument/2006/relationships/image" Target="../media/image22.jpg"/><Relationship Id="rId12" Type="http://schemas.openxmlformats.org/officeDocument/2006/relationships/image" Target="../media/image27.gi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1.jpg"/><Relationship Id="rId11" Type="http://schemas.openxmlformats.org/officeDocument/2006/relationships/image" Target="../media/image26.jpg"/><Relationship Id="rId5" Type="http://schemas.openxmlformats.org/officeDocument/2006/relationships/image" Target="../media/image20.jpg"/><Relationship Id="rId10" Type="http://schemas.openxmlformats.org/officeDocument/2006/relationships/image" Target="../media/image25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image" Target="../media/image29.png"/><Relationship Id="rId26" Type="http://schemas.openxmlformats.org/officeDocument/2006/relationships/image" Target="../media/image36.jpeg"/><Relationship Id="rId3" Type="http://schemas.openxmlformats.org/officeDocument/2006/relationships/tags" Target="../tags/tag22.xml"/><Relationship Id="rId21" Type="http://schemas.openxmlformats.org/officeDocument/2006/relationships/image" Target="../media/image31.pn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image" Target="../media/image13.emf"/><Relationship Id="rId25" Type="http://schemas.openxmlformats.org/officeDocument/2006/relationships/image" Target="../media/image35.png"/><Relationship Id="rId2" Type="http://schemas.openxmlformats.org/officeDocument/2006/relationships/tags" Target="../tags/tag21.xml"/><Relationship Id="rId16" Type="http://schemas.openxmlformats.org/officeDocument/2006/relationships/oleObject" Target="../embeddings/oleObject17.bin"/><Relationship Id="rId20" Type="http://schemas.openxmlformats.org/officeDocument/2006/relationships/image" Target="../media/image30.png"/><Relationship Id="rId29" Type="http://schemas.openxmlformats.org/officeDocument/2006/relationships/image" Target="../media/image39.jpeg"/><Relationship Id="rId1" Type="http://schemas.openxmlformats.org/officeDocument/2006/relationships/vmlDrawing" Target="../drawings/vmlDrawing17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34.png"/><Relationship Id="rId5" Type="http://schemas.openxmlformats.org/officeDocument/2006/relationships/tags" Target="../tags/tag24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33.png"/><Relationship Id="rId28" Type="http://schemas.openxmlformats.org/officeDocument/2006/relationships/image" Target="../media/image38.jpeg"/><Relationship Id="rId10" Type="http://schemas.openxmlformats.org/officeDocument/2006/relationships/tags" Target="../tags/tag29.xml"/><Relationship Id="rId19" Type="http://schemas.microsoft.com/office/2007/relationships/hdphoto" Target="../media/hdphoto3.wdp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32.png"/><Relationship Id="rId27" Type="http://schemas.openxmlformats.org/officeDocument/2006/relationships/image" Target="../media/image3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microsoft.com/office/2007/relationships/hdphoto" Target="../media/hdphoto4.wdp"/><Relationship Id="rId3" Type="http://schemas.openxmlformats.org/officeDocument/2006/relationships/tags" Target="../tags/tag35.xml"/><Relationship Id="rId21" Type="http://schemas.openxmlformats.org/officeDocument/2006/relationships/notesSlide" Target="../notesSlides/notesSlide3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image" Target="../media/image42.png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slideLayout" Target="../slideLayouts/slideLayout2.xml"/><Relationship Id="rId29" Type="http://schemas.openxmlformats.org/officeDocument/2006/relationships/image" Target="../media/image44.gif"/><Relationship Id="rId1" Type="http://schemas.openxmlformats.org/officeDocument/2006/relationships/vmlDrawing" Target="../drawings/vmlDrawing18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image" Target="../media/image41.jpeg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image" Target="../media/image40.emf"/><Relationship Id="rId28" Type="http://schemas.microsoft.com/office/2007/relationships/hdphoto" Target="../media/hdphoto5.wdp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oleObject" Target="../embeddings/oleObject18.bin"/><Relationship Id="rId27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56.xml"/><Relationship Id="rId11" Type="http://schemas.openxmlformats.org/officeDocument/2006/relationships/image" Target="../media/image45.png"/><Relationship Id="rId5" Type="http://schemas.openxmlformats.org/officeDocument/2006/relationships/tags" Target="../tags/tag55.xml"/><Relationship Id="rId10" Type="http://schemas.openxmlformats.org/officeDocument/2006/relationships/image" Target="../media/image13.emf"/><Relationship Id="rId4" Type="http://schemas.openxmlformats.org/officeDocument/2006/relationships/tags" Target="../tags/tag54.xml"/><Relationship Id="rId9" Type="http://schemas.openxmlformats.org/officeDocument/2006/relationships/oleObject" Target="../embeddings/oleObject1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9" Type="http://schemas.openxmlformats.org/officeDocument/2006/relationships/slideLayout" Target="../slideLayouts/slideLayout12.xml"/><Relationship Id="rId3" Type="http://schemas.openxmlformats.org/officeDocument/2006/relationships/tags" Target="../tags/tag59.xml"/><Relationship Id="rId21" Type="http://schemas.openxmlformats.org/officeDocument/2006/relationships/tags" Target="../tags/tag77.xml"/><Relationship Id="rId34" Type="http://schemas.openxmlformats.org/officeDocument/2006/relationships/tags" Target="../tags/tag90.xml"/><Relationship Id="rId42" Type="http://schemas.openxmlformats.org/officeDocument/2006/relationships/image" Target="../media/image1.emf"/><Relationship Id="rId47" Type="http://schemas.openxmlformats.org/officeDocument/2006/relationships/image" Target="../media/image49.png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33" Type="http://schemas.openxmlformats.org/officeDocument/2006/relationships/tags" Target="../tags/tag89.xml"/><Relationship Id="rId38" Type="http://schemas.openxmlformats.org/officeDocument/2006/relationships/tags" Target="../tags/tag94.xml"/><Relationship Id="rId46" Type="http://schemas.microsoft.com/office/2007/relationships/hdphoto" Target="../media/hdphoto6.wdp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tags" Target="../tags/tag85.xml"/><Relationship Id="rId41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32" Type="http://schemas.openxmlformats.org/officeDocument/2006/relationships/tags" Target="../tags/tag88.xml"/><Relationship Id="rId37" Type="http://schemas.openxmlformats.org/officeDocument/2006/relationships/tags" Target="../tags/tag93.xml"/><Relationship Id="rId40" Type="http://schemas.openxmlformats.org/officeDocument/2006/relationships/notesSlide" Target="../notesSlides/notesSlide4.xml"/><Relationship Id="rId45" Type="http://schemas.openxmlformats.org/officeDocument/2006/relationships/image" Target="../media/image48.png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tags" Target="../tags/tag84.xml"/><Relationship Id="rId36" Type="http://schemas.openxmlformats.org/officeDocument/2006/relationships/tags" Target="../tags/tag92.xml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tags" Target="../tags/tag87.xml"/><Relationship Id="rId44" Type="http://schemas.openxmlformats.org/officeDocument/2006/relationships/image" Target="../media/image47.jpe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tags" Target="../tags/tag83.xml"/><Relationship Id="rId30" Type="http://schemas.openxmlformats.org/officeDocument/2006/relationships/tags" Target="../tags/tag86.xml"/><Relationship Id="rId35" Type="http://schemas.openxmlformats.org/officeDocument/2006/relationships/tags" Target="../tags/tag91.xml"/><Relationship Id="rId43" Type="http://schemas.openxmlformats.org/officeDocument/2006/relationships/image" Target="../media/image46.png"/><Relationship Id="rId48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8665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170" y="4278061"/>
            <a:ext cx="8441797" cy="435715"/>
          </a:xfrm>
          <a:prstGeom prst="rect">
            <a:avLst/>
          </a:prstGeom>
        </p:spPr>
        <p:txBody>
          <a:bodyPr/>
          <a:lstStyle/>
          <a:p>
            <a:r>
              <a:rPr lang="sr-Latn-RS" sz="2400" b="1" dirty="0" smtClean="0"/>
              <a:t>ICT market in Serbia - trends and perspectives</a:t>
            </a:r>
            <a:endParaRPr lang="en-GB" sz="2400" b="1" dirty="0"/>
          </a:p>
        </p:txBody>
      </p:sp>
      <p:sp>
        <p:nvSpPr>
          <p:cNvPr id="6" name="Subtitle 3"/>
          <p:cNvSpPr txBox="1">
            <a:spLocks/>
          </p:cNvSpPr>
          <p:nvPr/>
        </p:nvSpPr>
        <p:spPr>
          <a:xfrm>
            <a:off x="283655" y="4724932"/>
            <a:ext cx="5638800" cy="30253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0" algn="ctr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Verdana" pitchFamily="34" charset="0"/>
                <a:cs typeface="Arial" pitchFamily="34" charset="0"/>
              </a:defRPr>
            </a:lvl2pPr>
            <a:lvl3pPr marL="914400" indent="0" algn="ctr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None/>
              <a:defRPr sz="1400" baseline="0">
                <a:solidFill>
                  <a:schemeClr val="tx1">
                    <a:tint val="75000"/>
                  </a:schemeClr>
                </a:solidFill>
                <a:latin typeface="Verdana" pitchFamily="34" charset="0"/>
                <a:cs typeface="Arial" pitchFamily="34" charset="0"/>
              </a:defRPr>
            </a:lvl3pPr>
            <a:lvl4pPr marL="1371600" indent="0" algn="ctr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None/>
              <a:defRPr sz="1400" baseline="0">
                <a:solidFill>
                  <a:schemeClr val="tx1">
                    <a:tint val="75000"/>
                  </a:schemeClr>
                </a:solidFill>
                <a:latin typeface="Verdana" pitchFamily="34" charset="0"/>
                <a:cs typeface="Arial" pitchFamily="34" charset="0"/>
              </a:defRPr>
            </a:lvl4pPr>
            <a:lvl5pPr marL="1828800" indent="0" algn="ctr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Verdana" pitchFamily="34" charset="0"/>
                <a:cs typeface="Arial" pitchFamily="34" charset="0"/>
              </a:defRPr>
            </a:lvl5pPr>
            <a:lvl6pPr marL="22860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27432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32004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3657600" indent="0" algn="ctr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endParaRPr lang="en-GB" sz="1600" kern="0" dirty="0">
              <a:solidFill>
                <a:srgbClr val="000000"/>
              </a:solidFill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283655" y="4690124"/>
            <a:ext cx="8441797" cy="435715"/>
          </a:xfrm>
          <a:prstGeom prst="rect">
            <a:avLst/>
          </a:prstGeom>
        </p:spPr>
        <p:txBody>
          <a:bodyPr anchor="b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aseline="0">
                <a:solidFill>
                  <a:schemeClr val="tx1"/>
                </a:solidFill>
                <a:latin typeface="+mn-lt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sr-Latn-RS" sz="1600" kern="0" dirty="0" smtClean="0">
                <a:solidFill>
                  <a:srgbClr val="000000"/>
                </a:solidFill>
              </a:rPr>
              <a:t>Belgrade, April 26</a:t>
            </a:r>
            <a:endParaRPr lang="en-GB" sz="16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88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urved Right Arrow 16"/>
          <p:cNvSpPr/>
          <p:nvPr/>
        </p:nvSpPr>
        <p:spPr>
          <a:xfrm>
            <a:off x="1619672" y="1628800"/>
            <a:ext cx="1368152" cy="3240360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Curved Left Arrow 15"/>
          <p:cNvSpPr/>
          <p:nvPr/>
        </p:nvSpPr>
        <p:spPr>
          <a:xfrm>
            <a:off x="5399583" y="1628800"/>
            <a:ext cx="1364103" cy="3312368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881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21436" y="764704"/>
            <a:ext cx="6010803" cy="429648"/>
          </a:xfrm>
        </p:spPr>
        <p:txBody>
          <a:bodyPr/>
          <a:lstStyle/>
          <a:p>
            <a:r>
              <a:rPr lang="sr-Latn-RS" sz="1800" dirty="0" smtClean="0">
                <a:latin typeface="Arial" pitchFamily="34" charset="0"/>
                <a:cs typeface="Arial" pitchFamily="34" charset="0"/>
              </a:rPr>
              <a:t>Telenor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Wholesale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Service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272F040C-30C7-4E92-A51F-979F8AED5A0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6"/>
            </p:custDataLst>
          </p:nvPr>
        </p:nvCxnSpPr>
        <p:spPr>
          <a:xfrm>
            <a:off x="395536" y="1124744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7"/>
            </p:custDataLst>
          </p:nvPr>
        </p:nvSpPr>
        <p:spPr>
          <a:xfrm>
            <a:off x="576064" y="2783501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CS" dirty="0" smtClean="0">
                <a:solidFill>
                  <a:srgbClr val="FFFFFF"/>
                </a:solidFill>
                <a:latin typeface="Arial" charset="0"/>
              </a:rPr>
              <a:t>FIXED SERVICE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8" name="TextBox 47"/>
          <p:cNvSpPr txBox="1"/>
          <p:nvPr>
            <p:custDataLst>
              <p:tags r:id="rId8"/>
            </p:custDataLst>
          </p:nvPr>
        </p:nvSpPr>
        <p:spPr>
          <a:xfrm>
            <a:off x="216024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2" name="TextBox 11"/>
          <p:cNvSpPr txBox="1"/>
          <p:nvPr>
            <p:custDataLst>
              <p:tags r:id="rId9"/>
            </p:custDataLst>
          </p:nvPr>
        </p:nvSpPr>
        <p:spPr>
          <a:xfrm>
            <a:off x="2987824" y="4115144"/>
            <a:ext cx="2411760" cy="1008112"/>
          </a:xfrm>
          <a:prstGeom prst="rect">
            <a:avLst/>
          </a:prstGeom>
          <a:solidFill>
            <a:srgbClr val="009900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CS" dirty="0" smtClean="0">
                <a:solidFill>
                  <a:srgbClr val="FFFFFF"/>
                </a:solidFill>
                <a:latin typeface="Arial" charset="0"/>
              </a:rPr>
              <a:t>IP </a:t>
            </a:r>
            <a:r>
              <a:rPr lang="en-US" dirty="0" smtClean="0">
                <a:solidFill>
                  <a:srgbClr val="FFFFFF"/>
                </a:solidFill>
                <a:latin typeface="Arial" charset="0"/>
              </a:rPr>
              <a:t>SERVICES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3" name="TextBox 12"/>
          <p:cNvSpPr txBox="1"/>
          <p:nvPr>
            <p:custDataLst>
              <p:tags r:id="rId10"/>
            </p:custDataLst>
          </p:nvPr>
        </p:nvSpPr>
        <p:spPr>
          <a:xfrm>
            <a:off x="2987824" y="1268760"/>
            <a:ext cx="2411760" cy="10081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FFFFFF"/>
                </a:solidFill>
                <a:latin typeface="Arial" charset="0"/>
              </a:rPr>
              <a:t>CONNECTIVITY SERVICES 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4" name="TextBox 13"/>
          <p:cNvSpPr txBox="1"/>
          <p:nvPr>
            <p:custDataLst>
              <p:tags r:id="rId11"/>
            </p:custDataLst>
          </p:nvPr>
        </p:nvSpPr>
        <p:spPr>
          <a:xfrm>
            <a:off x="5399584" y="2812583"/>
            <a:ext cx="2411760" cy="1008112"/>
          </a:xfrm>
          <a:prstGeom prst="rect">
            <a:avLst/>
          </a:prstGeom>
          <a:solidFill>
            <a:srgbClr val="FF0000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RS" dirty="0" smtClean="0">
                <a:solidFill>
                  <a:srgbClr val="FFFFFF"/>
                </a:solidFill>
                <a:latin typeface="Arial" charset="0"/>
              </a:rPr>
              <a:t>T</a:t>
            </a:r>
            <a:r>
              <a:rPr lang="en-US" dirty="0" smtClean="0">
                <a:solidFill>
                  <a:srgbClr val="FFFFFF"/>
                </a:solidFill>
                <a:latin typeface="Arial" charset="0"/>
              </a:rPr>
              <a:t>ELEHOUSING SERVICES 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3687" y="4115144"/>
            <a:ext cx="2380313" cy="208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542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4653136"/>
            <a:ext cx="2486655" cy="2238036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358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21436" y="764704"/>
            <a:ext cx="6010803" cy="429648"/>
          </a:xfrm>
        </p:spPr>
        <p:txBody>
          <a:bodyPr/>
          <a:lstStyle/>
          <a:p>
            <a:r>
              <a:rPr lang="sr-Latn-RS" sz="1800" dirty="0" smtClean="0">
                <a:latin typeface="Arial" pitchFamily="34" charset="0"/>
                <a:cs typeface="Arial" pitchFamily="34" charset="0"/>
              </a:rPr>
              <a:t>Telenor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Wholesale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Service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272F040C-30C7-4E92-A51F-979F8AED5A0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6"/>
            </p:custDataLst>
          </p:nvPr>
        </p:nvCxnSpPr>
        <p:spPr>
          <a:xfrm>
            <a:off x="395536" y="1124744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7"/>
            </p:custDataLst>
          </p:nvPr>
        </p:nvSpPr>
        <p:spPr>
          <a:xfrm>
            <a:off x="6732240" y="260648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CS" dirty="0" smtClean="0">
                <a:solidFill>
                  <a:srgbClr val="FFFFFF"/>
                </a:solidFill>
                <a:latin typeface="Arial" charset="0"/>
              </a:rPr>
              <a:t>FIXED SERVICE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7" name="Rectangle 46"/>
          <p:cNvSpPr/>
          <p:nvPr>
            <p:custDataLst>
              <p:tags r:id="rId8"/>
            </p:custDataLst>
          </p:nvPr>
        </p:nvSpPr>
        <p:spPr>
          <a:xfrm>
            <a:off x="4783023" y="2269797"/>
            <a:ext cx="4389512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gistered by RATEL as a Fixed Operator</a:t>
            </a: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wns contract with Customers</a:t>
            </a: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wns assigned Fixed Numbering Ranges</a:t>
            </a: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vest in CPE equipment and Customer Acquisition</a:t>
            </a: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ustomer Care and Customer management 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en-US" sz="16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1560" y="1268760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plit of responsibilities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>
            <p:custDataLst>
              <p:tags r:id="rId9"/>
            </p:custDataLst>
          </p:nvPr>
        </p:nvSpPr>
        <p:spPr>
          <a:xfrm>
            <a:off x="216024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1" name="Rectangle 10"/>
          <p:cNvSpPr/>
          <p:nvPr>
            <p:custDataLst>
              <p:tags r:id="rId10"/>
            </p:custDataLst>
          </p:nvPr>
        </p:nvSpPr>
        <p:spPr>
          <a:xfrm>
            <a:off x="109353" y="2269797"/>
            <a:ext cx="456338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vide connectivity with all National and International operators</a:t>
            </a: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vide proper Billing and CDRs</a:t>
            </a: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vide Fraud protection</a:t>
            </a: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vide environment for Customer </a:t>
            </a: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nagement</a:t>
            </a:r>
            <a:endParaRPr lang="en-US" sz="16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vide environment for Fixed Number Portability</a:t>
            </a:r>
          </a:p>
          <a:p>
            <a:pPr marL="285750" lvl="2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ulfill legislation requirements (Lawful Interception, Data retention)</a:t>
            </a:r>
          </a:p>
        </p:txBody>
      </p:sp>
      <p:sp>
        <p:nvSpPr>
          <p:cNvPr id="12" name="Rectangle 11"/>
          <p:cNvSpPr/>
          <p:nvPr/>
        </p:nvSpPr>
        <p:spPr>
          <a:xfrm rot="5400000">
            <a:off x="6379126" y="477329"/>
            <a:ext cx="395536" cy="28641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r-Latn-RS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able Operator</a:t>
            </a:r>
            <a:endParaRPr lang="en-US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 rot="5400000">
            <a:off x="1878118" y="477330"/>
            <a:ext cx="395536" cy="28641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r-Latn-RS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elenor</a:t>
            </a:r>
            <a:endParaRPr lang="en-US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48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1406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21436" y="764704"/>
            <a:ext cx="6010803" cy="429648"/>
          </a:xfrm>
        </p:spPr>
        <p:txBody>
          <a:bodyPr/>
          <a:lstStyle/>
          <a:p>
            <a:r>
              <a:rPr lang="sr-Latn-RS" sz="1800" dirty="0" smtClean="0">
                <a:latin typeface="Arial" pitchFamily="34" charset="0"/>
                <a:cs typeface="Arial" pitchFamily="34" charset="0"/>
              </a:rPr>
              <a:t>Telenor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Wholesale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Service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272F040C-30C7-4E92-A51F-979F8AED5A0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6"/>
            </p:custDataLst>
          </p:nvPr>
        </p:nvCxnSpPr>
        <p:spPr>
          <a:xfrm>
            <a:off x="395536" y="1124744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7"/>
            </p:custDataLst>
          </p:nvPr>
        </p:nvSpPr>
        <p:spPr>
          <a:xfrm>
            <a:off x="6732240" y="260648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FFFFFF"/>
                </a:solidFill>
                <a:latin typeface="Arial" charset="0"/>
              </a:rPr>
              <a:t>IP SERVICES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FFFFFF"/>
                </a:solidFill>
                <a:latin typeface="Arial" charset="0"/>
              </a:rPr>
              <a:t>DDoS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8" name="TextBox 47"/>
          <p:cNvSpPr txBox="1"/>
          <p:nvPr>
            <p:custDataLst>
              <p:tags r:id="rId8"/>
            </p:custDataLst>
          </p:nvPr>
        </p:nvSpPr>
        <p:spPr>
          <a:xfrm>
            <a:off x="216024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20482" name="Picture 2" descr="C:\Users\bsaponjic\Desktop\wie-das-internet-funktioniert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909" y="1484784"/>
            <a:ext cx="3528392" cy="2044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792" y="3753649"/>
            <a:ext cx="3565509" cy="2347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4067944" y="1340768"/>
            <a:ext cx="4860032" cy="3168352"/>
          </a:xfrm>
          <a:prstGeom prst="rect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r-Latn-R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 Transit service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s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Europe (direct access)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le billing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s – Flat rate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age based (burst-billing)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GP dynamic routing with the following options: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v6 Native / Dual stack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NS primary and secondary servic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ces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A specifications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Operations &amp; Customer Support: 24/7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067944" y="4653136"/>
            <a:ext cx="4825887" cy="2078183"/>
          </a:xfrm>
          <a:prstGeom prst="rect">
            <a:avLst/>
          </a:prstGeom>
          <a:solidFill>
            <a:schemeClr val="bg1"/>
          </a:solidFill>
          <a:ln w="19050"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DoS attacks facts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lenor can compete to largest carriers offers with own robust systems of dynamic mitigation and detection of DDoS attacks</a:t>
            </a:r>
          </a:p>
        </p:txBody>
      </p:sp>
    </p:spTree>
    <p:extLst>
      <p:ext uri="{BB962C8B-B14F-4D97-AF65-F5344CB8AC3E}">
        <p14:creationId xmlns:p14="http://schemas.microsoft.com/office/powerpoint/2010/main" val="4112094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008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21436" y="764704"/>
            <a:ext cx="6010803" cy="429648"/>
          </a:xfrm>
        </p:spPr>
        <p:txBody>
          <a:bodyPr/>
          <a:lstStyle/>
          <a:p>
            <a:r>
              <a:rPr lang="sr-Latn-RS" sz="1800" dirty="0" smtClean="0">
                <a:latin typeface="Arial" pitchFamily="34" charset="0"/>
                <a:cs typeface="Arial" pitchFamily="34" charset="0"/>
              </a:rPr>
              <a:t>Telenor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Wholesale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Service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272F040C-30C7-4E92-A51F-979F8AED5A0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6"/>
            </p:custDataLst>
          </p:nvPr>
        </p:nvCxnSpPr>
        <p:spPr>
          <a:xfrm>
            <a:off x="395536" y="1124744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7"/>
            </p:custDataLst>
          </p:nvPr>
        </p:nvSpPr>
        <p:spPr>
          <a:xfrm>
            <a:off x="6732240" y="260648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FFFFFF"/>
                </a:solidFill>
                <a:latin typeface="Arial" charset="0"/>
              </a:rPr>
              <a:t>CONNECTIVITY 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8" name="TextBox 47"/>
          <p:cNvSpPr txBox="1"/>
          <p:nvPr>
            <p:custDataLst>
              <p:tags r:id="rId8"/>
            </p:custDataLst>
          </p:nvPr>
        </p:nvSpPr>
        <p:spPr>
          <a:xfrm>
            <a:off x="216024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20485" name="Picture 5" descr="C:\Users\bsaponjic\Desktop\Mreza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378333"/>
            <a:ext cx="3609975" cy="5147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4276033" y="1700808"/>
            <a:ext cx="4714875" cy="492442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>
            <a:spAutoFit/>
          </a:bodyPr>
          <a:lstStyle/>
          <a:p>
            <a:pPr>
              <a:defRPr/>
            </a:pPr>
            <a:endParaRPr lang="x-non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00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km of fib</a:t>
            </a: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optic network in Serbia, 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ontenegro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Hungary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nd Bulgaria</a:t>
            </a:r>
            <a:endParaRPr lang="sr-Latn-C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endParaRPr lang="sr-Latn-C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The best IP radio </a:t>
            </a:r>
            <a:r>
              <a:rPr lang="sr-Latn-C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etworks </a:t>
            </a: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sr-Latn-C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erbia and Montenegro, </a:t>
            </a: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covering 98% of whole Serbian teritory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endParaRPr lang="sr-Latn-C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Multiple Cross-border links with Hungary, Croatia, Romania</a:t>
            </a:r>
            <a:r>
              <a:rPr lang="sr-Latn-C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Albania, </a:t>
            </a: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Bulgaria and Montenegro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endParaRPr lang="sr-Latn-C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Extensive metro networks carring voice, data, IP/MPLS and broadband services </a:t>
            </a:r>
          </a:p>
          <a:p>
            <a:pPr marL="171450" indent="-171450">
              <a:defRPr/>
            </a:pPr>
            <a:endParaRPr lang="sr-Latn-C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High level of Quality of Service is secured by MPLS traffic engineering allowing the guaranty of traffic throughput and route availabilty    </a:t>
            </a:r>
          </a:p>
          <a:p>
            <a:pPr>
              <a:defRPr/>
            </a:pPr>
            <a:endParaRPr lang="en-US" sz="1400" b="1" dirty="0">
              <a:latin typeface="+mj-lt"/>
            </a:endParaRPr>
          </a:p>
          <a:p>
            <a:pPr marL="171450" indent="-171450">
              <a:defRPr/>
            </a:pPr>
            <a:endParaRPr lang="sr-Latn-CS" sz="12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8530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7026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21436" y="764704"/>
            <a:ext cx="6010803" cy="429648"/>
          </a:xfrm>
        </p:spPr>
        <p:txBody>
          <a:bodyPr/>
          <a:lstStyle/>
          <a:p>
            <a:r>
              <a:rPr lang="sr-Latn-RS" sz="1800" dirty="0" smtClean="0">
                <a:latin typeface="Arial" pitchFamily="34" charset="0"/>
                <a:cs typeface="Arial" pitchFamily="34" charset="0"/>
              </a:rPr>
              <a:t>Telenor Fixed Wholesale Service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272F040C-30C7-4E92-A51F-979F8AED5A0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6"/>
            </p:custDataLst>
          </p:nvPr>
        </p:nvCxnSpPr>
        <p:spPr>
          <a:xfrm>
            <a:off x="395536" y="1124744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7"/>
            </p:custDataLst>
          </p:nvPr>
        </p:nvSpPr>
        <p:spPr>
          <a:xfrm>
            <a:off x="6732240" y="260648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FFFFFF"/>
                </a:solidFill>
                <a:latin typeface="Arial" charset="0"/>
              </a:rPr>
              <a:t>Connectivity</a:t>
            </a:r>
            <a:r>
              <a:rPr lang="sr-Latn-CS" dirty="0" smtClean="0">
                <a:solidFill>
                  <a:srgbClr val="FFFFFF"/>
                </a:solidFill>
                <a:latin typeface="Arial" charset="0"/>
              </a:rPr>
              <a:t> services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8" name="TextBox 47"/>
          <p:cNvSpPr txBox="1"/>
          <p:nvPr>
            <p:custDataLst>
              <p:tags r:id="rId8"/>
            </p:custDataLst>
          </p:nvPr>
        </p:nvSpPr>
        <p:spPr>
          <a:xfrm>
            <a:off x="216024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4034866187"/>
              </p:ext>
            </p:extLst>
          </p:nvPr>
        </p:nvGraphicFramePr>
        <p:xfrm>
          <a:off x="216024" y="1412776"/>
          <a:ext cx="8424936" cy="42090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13" name="Picture 19" descr="fotka3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5589240"/>
            <a:ext cx="2160240" cy="1076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3203848" y="5589240"/>
            <a:ext cx="4572000" cy="1076126"/>
          </a:xfrm>
          <a:prstGeom prst="rect">
            <a:avLst/>
          </a:prstGeom>
          <a:noFill/>
          <a:ln w="22225"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ts val="400"/>
              </a:spcBef>
              <a:spcAft>
                <a:spcPts val="0"/>
              </a:spcAft>
              <a:defRPr/>
            </a:pPr>
            <a:r>
              <a:rPr lang="sr-Latn-CS" sz="1200" b="1" dirty="0">
                <a:latin typeface="+mj-lt"/>
              </a:rPr>
              <a:t>       </a:t>
            </a:r>
            <a:r>
              <a:rPr lang="en-GB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elenor’s</a:t>
            </a: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 Common Network Operation </a:t>
            </a:r>
            <a:r>
              <a:rPr lang="en-GB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Center</a:t>
            </a: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(CNOC) provides 24/7 proactive monitoring of whole network with continuous follow-up of network performances</a:t>
            </a:r>
            <a:endParaRPr lang="sr-Latn-C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GB" sz="1200" b="1" dirty="0">
              <a:latin typeface="+mj-lt"/>
            </a:endParaRPr>
          </a:p>
          <a:p>
            <a:pPr marL="342900" indent="-342900">
              <a:spcBef>
                <a:spcPts val="400"/>
              </a:spcBef>
              <a:spcAft>
                <a:spcPts val="0"/>
              </a:spcAft>
              <a:defRPr/>
            </a:pPr>
            <a:endParaRPr lang="sr-Latn-CS" sz="12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3066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872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721436" y="764704"/>
            <a:ext cx="6010803" cy="429648"/>
          </a:xfrm>
        </p:spPr>
        <p:txBody>
          <a:bodyPr/>
          <a:lstStyle/>
          <a:p>
            <a:r>
              <a:rPr lang="sr-Latn-RS" sz="1800" dirty="0" smtClean="0">
                <a:latin typeface="Arial" pitchFamily="34" charset="0"/>
                <a:cs typeface="Arial" pitchFamily="34" charset="0"/>
              </a:rPr>
              <a:t>Telenor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Wholesale 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Service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272F040C-30C7-4E92-A51F-979F8AED5A0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6"/>
            </p:custDataLst>
          </p:nvPr>
        </p:nvCxnSpPr>
        <p:spPr>
          <a:xfrm>
            <a:off x="395536" y="1124744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7"/>
            </p:custDataLst>
          </p:nvPr>
        </p:nvSpPr>
        <p:spPr>
          <a:xfrm>
            <a:off x="6732240" y="260648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RS" dirty="0" smtClean="0">
                <a:solidFill>
                  <a:srgbClr val="FFFFFF"/>
                </a:solidFill>
                <a:latin typeface="Arial" charset="0"/>
              </a:rPr>
              <a:t>Telehousing</a:t>
            </a:r>
            <a:r>
              <a:rPr lang="sr-Latn-CS" dirty="0" smtClean="0">
                <a:solidFill>
                  <a:srgbClr val="FFFFFF"/>
                </a:solidFill>
                <a:latin typeface="Arial" charset="0"/>
              </a:rPr>
              <a:t> services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8" name="TextBox 47"/>
          <p:cNvSpPr txBox="1"/>
          <p:nvPr>
            <p:custDataLst>
              <p:tags r:id="rId8"/>
            </p:custDataLst>
          </p:nvPr>
        </p:nvSpPr>
        <p:spPr>
          <a:xfrm>
            <a:off x="216024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5" name="Picture 2" descr="C:\Users\tmitrovic\Documents\Razno 2011\THQ slika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93" y="1556792"/>
            <a:ext cx="2354057" cy="178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793" y="4581128"/>
            <a:ext cx="2386007" cy="1827917"/>
          </a:xfrm>
          <a:prstGeom prst="rect">
            <a:avLst/>
          </a:prstGeom>
        </p:spPr>
      </p:pic>
      <p:sp>
        <p:nvSpPr>
          <p:cNvPr id="17" name="Rectangle 11"/>
          <p:cNvSpPr>
            <a:spLocks noChangeArrowheads="1"/>
          </p:cNvSpPr>
          <p:nvPr/>
        </p:nvSpPr>
        <p:spPr bwMode="auto">
          <a:xfrm>
            <a:off x="3059832" y="1412776"/>
            <a:ext cx="5616623" cy="2160240"/>
          </a:xfrm>
          <a:prstGeom prst="rect">
            <a:avLst/>
          </a:prstGeom>
          <a:noFill/>
          <a:ln>
            <a:solidFill>
              <a:schemeClr val="accent1"/>
            </a:solidFill>
          </a:ln>
          <a:extLst/>
        </p:spPr>
        <p:txBody>
          <a:bodyPr/>
          <a:lstStyle/>
          <a:p>
            <a:pPr algn="just">
              <a:spcBef>
                <a:spcPts val="400"/>
              </a:spcBef>
              <a:defRPr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uilt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 2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009 in Belgrade with 2600 m² 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400"/>
              </a:spcBef>
              <a:defRPr/>
            </a:pP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in 2015 in Podgorica</a:t>
            </a:r>
            <a:r>
              <a:rPr lang="sr-Latn-C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with 780 </a:t>
            </a: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m²</a:t>
            </a:r>
            <a:r>
              <a:rPr lang="sr-Latn-C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400"/>
              </a:spcBef>
              <a:defRPr/>
            </a:pPr>
            <a:r>
              <a:rPr lang="sr-Latn-C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eparate stand alone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acility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e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wit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ull </a:t>
            </a:r>
            <a:r>
              <a:rPr lang="sr-Latn-RS" sz="1600" b="1" dirty="0">
                <a:latin typeface="Arial" panose="020B0604020202020204" pitchFamily="34" charset="0"/>
                <a:cs typeface="Arial" panose="020B0604020202020204" pitchFamily="34" charset="0"/>
              </a:rPr>
              <a:t>at least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N+1 redundanc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on all mechanical, electrical and connectivity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1"/>
          <p:cNvSpPr>
            <a:spLocks noChangeArrowheads="1"/>
          </p:cNvSpPr>
          <p:nvPr/>
        </p:nvSpPr>
        <p:spPr bwMode="auto">
          <a:xfrm>
            <a:off x="3059832" y="3645024"/>
            <a:ext cx="5616623" cy="2952328"/>
          </a:xfrm>
          <a:prstGeom prst="rect">
            <a:avLst/>
          </a:prstGeom>
          <a:noFill/>
          <a:ln>
            <a:solidFill>
              <a:schemeClr val="accent1"/>
            </a:solidFill>
          </a:ln>
          <a:extLst/>
        </p:spPr>
        <p:txBody>
          <a:bodyPr/>
          <a:lstStyle/>
          <a:p>
            <a:pPr algn="just">
              <a:spcBef>
                <a:spcPts val="400"/>
              </a:spcBef>
              <a:defRPr/>
            </a:pPr>
            <a:r>
              <a:rPr lang="sr-Latn-R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rvice features :</a:t>
            </a: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2U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cabinet (rack) and/or footprin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ustomized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olutions-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age/separated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ata room </a:t>
            </a: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Video surveillance of each cabinet</a:t>
            </a: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r>
              <a:rPr lang="sr-Latn-C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SO 27001 certified</a:t>
            </a: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eb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ortal with real-time monitoring of service parameters such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s: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p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wer consumption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v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deo surveillance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t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emperature</a:t>
            </a:r>
            <a:r>
              <a:rPr lang="sr-Latn-R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h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humidity parameters</a:t>
            </a:r>
            <a:endParaRPr lang="sr-Latn-R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ands &amp; Eyes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  <a:endParaRPr lang="sr-Latn-R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r>
              <a:rPr lang="sr-Latn-RS" sz="1600" dirty="0">
                <a:latin typeface="Arial" panose="020B0604020202020204" pitchFamily="34" charset="0"/>
                <a:cs typeface="Arial" panose="020B0604020202020204" pitchFamily="34" charset="0"/>
              </a:rPr>
              <a:t>Power supply – SA – 99,9999%</a:t>
            </a: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endParaRPr lang="sr-Latn-RS" sz="1000" dirty="0" smtClean="0">
              <a:latin typeface="Verdana" pitchFamily="34" charset="0"/>
            </a:endParaRP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endParaRPr lang="en-US" sz="1000" dirty="0">
              <a:latin typeface="Verdana" pitchFamily="34" charset="0"/>
            </a:endParaRPr>
          </a:p>
          <a:p>
            <a:pPr marL="342900" indent="-342900" algn="just">
              <a:spcBef>
                <a:spcPts val="400"/>
              </a:spcBef>
              <a:buFont typeface="Arial" charset="0"/>
              <a:buChar char="•"/>
              <a:defRPr/>
            </a:pPr>
            <a:endParaRPr lang="sr-Latn-CS" sz="1000" b="1" dirty="0">
              <a:latin typeface="Verdana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99309" y="1670611"/>
            <a:ext cx="8598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000" dirty="0" smtClean="0"/>
              <a:t>Belgrade</a:t>
            </a:r>
            <a:endParaRPr lang="sr-Latn-RS" sz="1000" dirty="0"/>
          </a:p>
        </p:txBody>
      </p:sp>
      <p:sp>
        <p:nvSpPr>
          <p:cNvPr id="20" name="Rectangle 19"/>
          <p:cNvSpPr/>
          <p:nvPr/>
        </p:nvSpPr>
        <p:spPr>
          <a:xfrm>
            <a:off x="1668773" y="4766955"/>
            <a:ext cx="10710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Latn-RS" sz="1000" dirty="0" smtClean="0"/>
              <a:t>Podgorica</a:t>
            </a:r>
            <a:endParaRPr lang="sr-Latn-RS" sz="1000" dirty="0"/>
          </a:p>
        </p:txBody>
      </p:sp>
      <p:sp>
        <p:nvSpPr>
          <p:cNvPr id="3" name="Rectangle 2"/>
          <p:cNvSpPr/>
          <p:nvPr/>
        </p:nvSpPr>
        <p:spPr>
          <a:xfrm>
            <a:off x="385793" y="3356992"/>
            <a:ext cx="2354058" cy="120032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defTabSz="933450"/>
            <a:r>
              <a:rPr lang="en-US" b="1" dirty="0">
                <a:solidFill>
                  <a:srgbClr val="00B0F0"/>
                </a:solidFill>
                <a:latin typeface="Verdana" pitchFamily="34" charset="0"/>
              </a:rPr>
              <a:t>One of the most advanced Data Centers in SEE region</a:t>
            </a:r>
          </a:p>
        </p:txBody>
      </p:sp>
    </p:spTree>
    <p:extLst>
      <p:ext uri="{BB962C8B-B14F-4D97-AF65-F5344CB8AC3E}">
        <p14:creationId xmlns:p14="http://schemas.microsoft.com/office/powerpoint/2010/main" val="2678891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3"/>
          <p:cNvSpPr>
            <a:spLocks noGrp="1"/>
          </p:cNvSpPr>
          <p:nvPr>
            <p:ph type="ctrTitle"/>
          </p:nvPr>
        </p:nvSpPr>
        <p:spPr>
          <a:xfrm>
            <a:off x="423863" y="3959225"/>
            <a:ext cx="8115300" cy="942975"/>
          </a:xfrm>
        </p:spPr>
        <p:txBody>
          <a:bodyPr/>
          <a:lstStyle/>
          <a:p>
            <a:pPr eaLnBrk="1" hangingPunct="1"/>
            <a:r>
              <a:rPr lang="en-US" b="0" dirty="0" smtClean="0">
                <a:latin typeface="Arial" pitchFamily="34" charset="0"/>
                <a:ea typeface="ＭＳ Ｐゴシック" pitchFamily="34" charset="-128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81923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66681"/>
              </p:ext>
            </p:extLst>
          </p:nvPr>
        </p:nvGraphicFramePr>
        <p:xfrm>
          <a:off x="1346" y="1591"/>
          <a:ext cx="13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46" y="1591"/>
                        <a:ext cx="134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03224" y="332656"/>
            <a:ext cx="7694613" cy="297979"/>
          </a:xfrm>
        </p:spPr>
        <p:txBody>
          <a:bodyPr/>
          <a:lstStyle/>
          <a:p>
            <a:r>
              <a:rPr lang="en-US" sz="1800" dirty="0" smtClean="0">
                <a:latin typeface="Arial" pitchFamily="34" charset="0"/>
                <a:cs typeface="Arial" pitchFamily="34" charset="0"/>
              </a:rPr>
              <a:t>T</a:t>
            </a:r>
            <a:r>
              <a:rPr lang="sr-Latn-RS" sz="1800" dirty="0" smtClean="0">
                <a:latin typeface="Arial" pitchFamily="34" charset="0"/>
                <a:cs typeface="Arial" pitchFamily="34" charset="0"/>
              </a:rPr>
              <a:t>elenor Group</a:t>
            </a:r>
            <a:r>
              <a:rPr lang="sr-Latn-RS" sz="1800" baseline="0" dirty="0" smtClean="0">
                <a:latin typeface="Arial" pitchFamily="34" charset="0"/>
                <a:cs typeface="Arial" pitchFamily="34" charset="0"/>
              </a:rPr>
              <a:t> global footprint.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71576" y="6877000"/>
            <a:ext cx="500063" cy="152400"/>
          </a:xfrm>
        </p:spPr>
        <p:txBody>
          <a:bodyPr/>
          <a:lstStyle/>
          <a:p>
            <a:fld id="{12202ADF-C4AA-473F-8386-D01F2B896C9A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1266553"/>
            <a:ext cx="9161712" cy="5045350"/>
            <a:chOff x="-756" y="947686"/>
            <a:chExt cx="9144756" cy="5942026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022" b="3994"/>
            <a:stretch/>
          </p:blipFill>
          <p:spPr bwMode="auto">
            <a:xfrm>
              <a:off x="-756" y="947686"/>
              <a:ext cx="9144756" cy="5936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3245" y="5732511"/>
              <a:ext cx="1767815" cy="11521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Trapezoid 26"/>
            <p:cNvSpPr/>
            <p:nvPr/>
          </p:nvSpPr>
          <p:spPr>
            <a:xfrm rot="19844622">
              <a:off x="3921563" y="3625154"/>
              <a:ext cx="441060" cy="2295990"/>
            </a:xfrm>
            <a:prstGeom prst="trapezoid">
              <a:avLst>
                <a:gd name="adj" fmla="val 43894"/>
              </a:avLst>
            </a:prstGeom>
            <a:solidFill>
              <a:schemeClr val="accent2">
                <a:alpha val="28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 bwMode="auto">
            <a:xfrm>
              <a:off x="3642610" y="3528622"/>
              <a:ext cx="57093" cy="519351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4366698" y="5462481"/>
              <a:ext cx="445272" cy="540060"/>
            </a:xfrm>
            <a:prstGeom prst="ellipse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203409" y="6001646"/>
              <a:ext cx="1100101" cy="8880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r-Latn-RS" sz="700" dirty="0" smtClean="0">
                  <a:solidFill>
                    <a:srgbClr val="FFFFFF"/>
                  </a:solidFill>
                  <a:latin typeface="Telenor" pitchFamily="50" charset="-18"/>
                </a:rPr>
                <a:t>Telenor</a:t>
              </a:r>
            </a:p>
            <a:p>
              <a:r>
                <a:rPr lang="sr-Latn-RS" sz="1200" dirty="0" smtClean="0">
                  <a:solidFill>
                    <a:srgbClr val="FFFFFF"/>
                  </a:solidFill>
                  <a:latin typeface="Telenor" pitchFamily="50" charset="-18"/>
                </a:rPr>
                <a:t>Bulgaria</a:t>
              </a:r>
            </a:p>
            <a:p>
              <a:r>
                <a:rPr lang="sr-Latn-RS" sz="800" dirty="0" smtClean="0">
                  <a:solidFill>
                    <a:srgbClr val="FFFFFF"/>
                  </a:solidFill>
                  <a:latin typeface="Telenor" pitchFamily="50" charset="-18"/>
                </a:rPr>
                <a:t>The second largest</a:t>
              </a:r>
            </a:p>
            <a:p>
              <a:r>
                <a:rPr lang="sr-Latn-RS" sz="800" dirty="0" smtClean="0">
                  <a:solidFill>
                    <a:srgbClr val="FFFFFF"/>
                  </a:solidFill>
                  <a:latin typeface="Telenor" pitchFamily="50" charset="-18"/>
                </a:rPr>
                <a:t>Mobile operator in Bulgaria</a:t>
              </a:r>
              <a:endParaRPr lang="en-US" sz="800" dirty="0">
                <a:solidFill>
                  <a:srgbClr val="FFFFFF"/>
                </a:solidFill>
                <a:latin typeface="Telenor" pitchFamily="50" charset="-18"/>
              </a:endParaRPr>
            </a:p>
          </p:txBody>
        </p:sp>
        <p:sp>
          <p:nvSpPr>
            <p:cNvPr id="31" name="Trapezoid 30"/>
            <p:cNvSpPr/>
            <p:nvPr/>
          </p:nvSpPr>
          <p:spPr>
            <a:xfrm rot="18654813">
              <a:off x="5914498" y="4210228"/>
              <a:ext cx="521002" cy="1828604"/>
            </a:xfrm>
            <a:prstGeom prst="trapezoid">
              <a:avLst>
                <a:gd name="adj" fmla="val 43894"/>
              </a:avLst>
            </a:prstGeom>
            <a:solidFill>
              <a:srgbClr val="7030A0">
                <a:alpha val="28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2" name="Oval 31"/>
            <p:cNvSpPr/>
            <p:nvPr/>
          </p:nvSpPr>
          <p:spPr bwMode="auto">
            <a:xfrm>
              <a:off x="5429296" y="4140690"/>
              <a:ext cx="57093" cy="519351"/>
            </a:xfrm>
            <a:prstGeom prst="ellipse">
              <a:avLst/>
            </a:prstGeom>
            <a:solidFill>
              <a:srgbClr val="A62A7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6644611" y="5563642"/>
              <a:ext cx="445272" cy="540060"/>
            </a:xfrm>
            <a:prstGeom prst="ellipse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132286" y="5847492"/>
              <a:ext cx="975346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r-Latn-RS" sz="800" dirty="0" smtClean="0">
                  <a:solidFill>
                    <a:srgbClr val="FFFFFF"/>
                  </a:solidFill>
                  <a:latin typeface="Telenor" pitchFamily="50" charset="-18"/>
                </a:rPr>
                <a:t>Telenor</a:t>
              </a:r>
            </a:p>
            <a:p>
              <a:r>
                <a:rPr lang="sr-Latn-RS" sz="1400" dirty="0" smtClean="0">
                  <a:solidFill>
                    <a:srgbClr val="FFFFFF"/>
                  </a:solidFill>
                  <a:latin typeface="Telenor" pitchFamily="50" charset="-18"/>
                </a:rPr>
                <a:t>Myanmar</a:t>
              </a:r>
            </a:p>
            <a:p>
              <a:r>
                <a:rPr lang="sr-Latn-RS" sz="800" dirty="0" smtClean="0">
                  <a:solidFill>
                    <a:srgbClr val="FFFFFF"/>
                  </a:solidFill>
                  <a:latin typeface="Telenor" pitchFamily="50" charset="-18"/>
                </a:rPr>
                <a:t>The new member of Telenor Group family</a:t>
              </a:r>
              <a:endParaRPr lang="en-US" sz="800" dirty="0">
                <a:solidFill>
                  <a:srgbClr val="FFFFFF"/>
                </a:solidFill>
                <a:latin typeface="Telenor" pitchFamily="50" charset="-1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1538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747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411" y="0"/>
            <a:ext cx="9143588" cy="6866612"/>
          </a:xfrm>
          <a:prstGeom prst="rect">
            <a:avLst/>
          </a:prstGeom>
          <a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-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645756" fontAlgn="auto">
              <a:spcBef>
                <a:spcPts val="0"/>
              </a:spcBef>
              <a:spcAft>
                <a:spcPts val="0"/>
              </a:spcAft>
            </a:pPr>
            <a:endParaRPr sz="3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00063" y="3568722"/>
            <a:ext cx="4481840" cy="12187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hangingPunct="0">
              <a:lnSpc>
                <a:spcPct val="110000"/>
              </a:lnSpc>
              <a:defRPr sz="1800">
                <a:latin typeface="Telenor" pitchFamily="50" charset="0"/>
                <a:cs typeface="Arial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We exist to help our customers get the full benefit of being connected. Our success is measured by how passionately they promote us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45036" y="556724"/>
            <a:ext cx="4487262" cy="446266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r>
              <a:rPr lang="sr-Latn-RS" b="1" dirty="0" smtClean="0">
                <a:effectLst/>
                <a:latin typeface="Telenor" pitchFamily="50" charset="-18"/>
              </a:rPr>
              <a:t> VISION | EMPOWER SOCIETIES</a:t>
            </a:r>
            <a:endParaRPr lang="en-US" b="1" dirty="0">
              <a:effectLst/>
              <a:latin typeface="Telenor" pitchFamily="50" charset="-1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5036" y="2671811"/>
            <a:ext cx="5197092" cy="830997"/>
          </a:xfrm>
          <a:prstGeom prst="rect">
            <a:avLst/>
          </a:prstGeom>
          <a:noFill/>
          <a:ln>
            <a:noFill/>
          </a:ln>
        </p:spPr>
        <p:txBody>
          <a:bodyPr wrap="square" lIns="91431" tIns="45715" rIns="91431" bIns="45715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  <a:latin typeface="Together" panose="02000503000000020004" pitchFamily="2" charset="0"/>
              </a:defRPr>
            </a:lvl1pPr>
          </a:lstStyle>
          <a:p>
            <a:r>
              <a:rPr lang="sr-Latn-RS" dirty="0">
                <a:solidFill>
                  <a:schemeClr val="tx1"/>
                </a:solidFill>
                <a:latin typeface="Telenor" pitchFamily="50" charset="-18"/>
              </a:rPr>
              <a:t>M</a:t>
            </a:r>
            <a:r>
              <a:rPr lang="en-US" dirty="0">
                <a:solidFill>
                  <a:schemeClr val="tx1"/>
                </a:solidFill>
                <a:latin typeface="Telenor" pitchFamily="50" charset="-18"/>
              </a:rPr>
              <a:t>ISSION</a:t>
            </a:r>
            <a:r>
              <a:rPr lang="sr-Latn-RS" dirty="0">
                <a:solidFill>
                  <a:schemeClr val="tx1"/>
                </a:solidFill>
                <a:latin typeface="Telenor" pitchFamily="50" charset="-18"/>
              </a:rPr>
              <a:t> | </a:t>
            </a:r>
            <a:r>
              <a:rPr lang="en-US" dirty="0">
                <a:solidFill>
                  <a:schemeClr val="tx1"/>
                </a:solidFill>
                <a:latin typeface="Telenor" pitchFamily="50" charset="-18"/>
              </a:rPr>
              <a:t>WE’RE HERE TO HELP </a:t>
            </a:r>
            <a:endParaRPr lang="sr-Latn-RS" dirty="0">
              <a:solidFill>
                <a:schemeClr val="tx1"/>
              </a:solidFill>
              <a:latin typeface="Telenor" pitchFamily="50" charset="-18"/>
            </a:endParaRPr>
          </a:p>
          <a:p>
            <a:r>
              <a:rPr lang="en-US" dirty="0">
                <a:solidFill>
                  <a:schemeClr val="tx1"/>
                </a:solidFill>
                <a:latin typeface="Telenor" pitchFamily="50" charset="-18"/>
              </a:rPr>
              <a:t>OUR CUSTOMER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00063" y="1072969"/>
            <a:ext cx="4481840" cy="1107996"/>
          </a:xfrm>
          <a:prstGeom prst="homePlate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hangingPunct="0">
              <a:defRPr/>
            </a:pPr>
            <a:r>
              <a:rPr lang="en-US" sz="1800" dirty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We provide the power </a:t>
            </a:r>
            <a:r>
              <a:rPr lang="sr-Latn-RS" sz="1800" dirty="0" smtClean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 o</a:t>
            </a:r>
            <a:r>
              <a:rPr lang="en-US" sz="1800" dirty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f</a:t>
            </a:r>
            <a:r>
              <a:rPr lang="sr-Latn-RS" sz="1800" dirty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digital communication, enabling everyone to improve their lives, build societies </a:t>
            </a:r>
            <a:r>
              <a:rPr lang="sr-Latn-RS" sz="1800" dirty="0" smtClean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00" dirty="0" smtClean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and </a:t>
            </a:r>
            <a:r>
              <a:rPr lang="en-US" sz="1800" dirty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secure a better </a:t>
            </a:r>
            <a:r>
              <a:rPr lang="en-US" sz="1800" dirty="0" smtClean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future </a:t>
            </a:r>
            <a:r>
              <a:rPr lang="en-US" sz="1800" dirty="0">
                <a:solidFill>
                  <a:prstClr val="white"/>
                </a:solidFill>
                <a:latin typeface="Telenor" pitchFamily="50" charset="-18"/>
                <a:ea typeface="Verdana" panose="020B0604030504040204" pitchFamily="34" charset="0"/>
                <a:cs typeface="Verdana" panose="020B0604030504040204" pitchFamily="34" charset="0"/>
              </a:rPr>
              <a:t>for all.</a:t>
            </a:r>
            <a:endParaRPr lang="en-US" sz="1800" dirty="0">
              <a:solidFill>
                <a:prstClr val="white"/>
              </a:solidFill>
              <a:latin typeface="Telenor" pitchFamily="50" charset="-18"/>
              <a:ea typeface="Verdana" panose="020B0604030504040204" pitchFamily="34" charset="0"/>
              <a:cs typeface="Verdana" panose="020B0604030504040204" pitchFamily="34" charset="0"/>
              <a:sym typeface="Arial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1448" y="81191"/>
            <a:ext cx="2503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645756" fontAlgn="auto">
              <a:spcBef>
                <a:spcPts val="0"/>
              </a:spcBef>
              <a:spcAft>
                <a:spcPts val="0"/>
              </a:spcAft>
            </a:pPr>
            <a:r>
              <a:rPr lang="sr-Latn-RS" sz="2400" b="1" dirty="0" smtClean="0">
                <a:solidFill>
                  <a:prstClr val="white">
                    <a:lumMod val="75000"/>
                  </a:prstClr>
                </a:solidFill>
                <a:latin typeface="Telenor" pitchFamily="50" charset="-18"/>
              </a:rPr>
              <a:t> </a:t>
            </a:r>
            <a:endParaRPr lang="sr-Latn-RS" sz="24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71577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02ADF-C4AA-473F-8386-D01F2B896C9A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3" descr="\\tns-fbu-2f-238.corp.telenor.no\User-238$\t725095\Mine dokumenter\Strategy Communication 2016-2018\01_Strategy Wheel\01_Strategy Wheel\PNG\Strategy Wheel_BW_NEG.png"/>
          <p:cNvPicPr>
            <a:picLocks noChangeAspect="1" noChangeArrowheads="1"/>
          </p:cNvPicPr>
          <p:nvPr/>
        </p:nvPicPr>
        <p:blipFill rotWithShape="1">
          <a:blip r:embed="rId2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87078" y="870982"/>
            <a:ext cx="4951026" cy="5222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567408" y="3140968"/>
            <a:ext cx="273616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600" dirty="0">
                <a:latin typeface="Arial" panose="020B0604020202020204" pitchFamily="34" charset="0"/>
                <a:cs typeface="Arial" panose="020B0604020202020204" pitchFamily="34" charset="0"/>
              </a:rPr>
              <a:t>Securing growth </a:t>
            </a:r>
            <a:br>
              <a:rPr lang="nb-NO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1600" dirty="0">
                <a:latin typeface="Arial" panose="020B0604020202020204" pitchFamily="34" charset="0"/>
                <a:cs typeface="Arial" panose="020B0604020202020204" pitchFamily="34" charset="0"/>
              </a:rPr>
              <a:t>as the customers’ favourite partner </a:t>
            </a:r>
            <a:br>
              <a:rPr lang="nb-NO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1600" dirty="0">
                <a:latin typeface="Arial" panose="020B0604020202020204" pitchFamily="34" charset="0"/>
                <a:cs typeface="Arial" panose="020B0604020202020204" pitchFamily="34" charset="0"/>
              </a:rPr>
              <a:t>in digital lif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43490" y="548680"/>
            <a:ext cx="7694613" cy="360040"/>
          </a:xfrm>
        </p:spPr>
        <p:txBody>
          <a:bodyPr/>
          <a:lstStyle/>
          <a:p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sr-Latn-R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elenor Strategy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28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608" y="476672"/>
            <a:ext cx="5509120" cy="432048"/>
          </a:xfrm>
        </p:spPr>
        <p:txBody>
          <a:bodyPr/>
          <a:lstStyle/>
          <a:p>
            <a:r>
              <a:rPr lang="sr-Latn-CS" sz="1800" dirty="0" smtClean="0">
                <a:latin typeface="Arial" pitchFamily="34" charset="0"/>
                <a:cs typeface="Arial" pitchFamily="34" charset="0"/>
              </a:rPr>
              <a:t>Main industry trends.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2F040C-30C7-4E92-A51F-979F8AED5A0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1"/>
            </p:custDataLst>
          </p:nvPr>
        </p:nvCxnSpPr>
        <p:spPr>
          <a:xfrm>
            <a:off x="395536" y="908720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2"/>
            </p:custDataLst>
          </p:nvPr>
        </p:nvSpPr>
        <p:spPr>
          <a:xfrm>
            <a:off x="6732240" y="260648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CS" dirty="0" smtClean="0">
                <a:solidFill>
                  <a:srgbClr val="FFFFFF"/>
                </a:solidFill>
                <a:latin typeface="Arial" charset="0"/>
              </a:rPr>
              <a:t>Trends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91072" y="1845979"/>
            <a:ext cx="3392275" cy="40318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martphon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rvice bundling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oice to data transi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e to postpaid migration</a:t>
            </a:r>
          </a:p>
          <a:p>
            <a:pPr marL="285750" indent="-285750">
              <a:buFont typeface="Arial" pitchFamily="34" charset="0"/>
              <a:buChar char="•"/>
            </a:pPr>
            <a:endParaRPr lang="sr-Latn-RS" sz="16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endParaRPr lang="sr-Latn-RS" sz="16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igh-speed Internet everywher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ta traffic explos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nected devic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bile broadban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TT player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cial networks</a:t>
            </a:r>
          </a:p>
          <a:p>
            <a:pPr marL="285750" indent="-285750">
              <a:buFont typeface="Arial" pitchFamily="34" charset="0"/>
              <a:buChar char="•"/>
            </a:pPr>
            <a:endParaRPr lang="sr-Latn-RS" sz="16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tworks evolu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sr-Latn-R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iFi widespread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3528" y="1845979"/>
            <a:ext cx="395536" cy="1227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r-Latn-RS" sz="16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obile</a:t>
            </a:r>
            <a:endParaRPr lang="en-US" sz="16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3528" y="3358147"/>
            <a:ext cx="395536" cy="14433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r-Latn-RS" sz="16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sr-Latn-RS" sz="16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nternet</a:t>
            </a:r>
            <a:endParaRPr lang="en-US" sz="16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3528" y="5017511"/>
            <a:ext cx="395536" cy="864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r-Latn-RS" sz="16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neworks</a:t>
            </a:r>
            <a:endParaRPr lang="en-US" sz="16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572000" y="1845979"/>
            <a:ext cx="4176464" cy="4035627"/>
            <a:chOff x="5002560" y="1988840"/>
            <a:chExt cx="3745904" cy="3541350"/>
          </a:xfrm>
        </p:grpSpPr>
        <p:sp>
          <p:nvSpPr>
            <p:cNvPr id="7" name="Rectangle 6"/>
            <p:cNvSpPr/>
            <p:nvPr/>
          </p:nvSpPr>
          <p:spPr>
            <a:xfrm>
              <a:off x="5002560" y="1990068"/>
              <a:ext cx="1152128" cy="1084455"/>
            </a:xfrm>
            <a:prstGeom prst="rect">
              <a:avLst/>
            </a:prstGeom>
            <a:blipFill>
              <a:blip r:embed="rId5"/>
              <a:stretch>
                <a:fillRect/>
              </a:stretch>
            </a:blip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307088" y="1988841"/>
              <a:ext cx="1152128" cy="1084455"/>
            </a:xfrm>
            <a:prstGeom prst="rect">
              <a:avLst/>
            </a:prstGeom>
            <a:blipFill>
              <a:blip r:embed="rId6"/>
              <a:stretch>
                <a:fillRect/>
              </a:stretch>
            </a:blip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594848" y="1988840"/>
              <a:ext cx="1152128" cy="1084455"/>
            </a:xfrm>
            <a:prstGeom prst="rect">
              <a:avLst/>
            </a:prstGeom>
            <a:blipFill>
              <a:blip r:embed="rId7"/>
              <a:stretch>
                <a:fillRect/>
              </a:stretch>
            </a:blip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002560" y="3222731"/>
              <a:ext cx="1152128" cy="1084455"/>
            </a:xfrm>
            <a:prstGeom prst="rect">
              <a:avLst/>
            </a:prstGeom>
            <a:blipFill>
              <a:blip r:embed="rId8"/>
              <a:stretch>
                <a:fillRect/>
              </a:stretch>
            </a:blip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307088" y="3221504"/>
              <a:ext cx="1152128" cy="1084455"/>
            </a:xfrm>
            <a:prstGeom prst="rect">
              <a:avLst/>
            </a:prstGeom>
            <a:blipFill>
              <a:blip r:embed="rId9"/>
              <a:stretch>
                <a:fillRect/>
              </a:stretch>
            </a:blip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594848" y="3221503"/>
              <a:ext cx="1152128" cy="1084455"/>
            </a:xfrm>
            <a:prstGeom prst="rect">
              <a:avLst/>
            </a:prstGeom>
            <a:blipFill>
              <a:blip r:embed="rId10"/>
              <a:stretch>
                <a:fillRect/>
              </a:stretch>
            </a:blip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004048" y="4445735"/>
              <a:ext cx="1152128" cy="1084455"/>
            </a:xfrm>
            <a:prstGeom prst="rect">
              <a:avLst/>
            </a:prstGeom>
            <a:blipFill>
              <a:blip r:embed="rId11"/>
              <a:stretch>
                <a:fillRect/>
              </a:stretch>
            </a:blip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308576" y="4444508"/>
              <a:ext cx="1152128" cy="1084455"/>
            </a:xfrm>
            <a:prstGeom prst="rect">
              <a:avLst/>
            </a:prstGeom>
            <a:blipFill>
              <a:blip r:embed="rId12"/>
              <a:stretch>
                <a:fillRect/>
              </a:stretch>
            </a:blip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596336" y="4444507"/>
              <a:ext cx="1152128" cy="1084455"/>
            </a:xfrm>
            <a:prstGeom prst="rect">
              <a:avLst/>
            </a:prstGeom>
            <a:blipFill>
              <a:blip r:embed="rId13"/>
              <a:stretch>
                <a:fillRect/>
              </a:stretch>
            </a:blip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4" name="TextBox 44"/>
          <p:cNvSpPr txBox="1"/>
          <p:nvPr>
            <p:custDataLst>
              <p:tags r:id="rId3"/>
            </p:custDataLst>
          </p:nvPr>
        </p:nvSpPr>
        <p:spPr>
          <a:xfrm>
            <a:off x="323961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328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780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827584" y="404664"/>
            <a:ext cx="5904656" cy="576064"/>
          </a:xfrm>
        </p:spPr>
        <p:txBody>
          <a:bodyPr/>
          <a:lstStyle/>
          <a:p>
            <a:r>
              <a:rPr lang="sr-Latn-RS" sz="1800" dirty="0" smtClean="0">
                <a:latin typeface="Arial" pitchFamily="34" charset="0"/>
                <a:cs typeface="Arial" pitchFamily="34" charset="0"/>
              </a:rPr>
              <a:t>High speed Internet everywhere will shift consumer behaviour.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272F040C-30C7-4E92-A51F-979F8AED5A00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6"/>
            </p:custDataLst>
          </p:nvPr>
        </p:nvCxnSpPr>
        <p:spPr>
          <a:xfrm>
            <a:off x="395536" y="1124744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7"/>
            </p:custDataLst>
          </p:nvPr>
        </p:nvSpPr>
        <p:spPr>
          <a:xfrm>
            <a:off x="6732240" y="260648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CS" dirty="0" smtClean="0">
                <a:solidFill>
                  <a:srgbClr val="FFFFFF"/>
                </a:solidFill>
                <a:latin typeface="Arial" charset="0"/>
              </a:rPr>
              <a:t>Trends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5" name="TextBox 44"/>
          <p:cNvSpPr txBox="1"/>
          <p:nvPr>
            <p:custDataLst>
              <p:tags r:id="rId8"/>
            </p:custDataLst>
          </p:nvPr>
        </p:nvSpPr>
        <p:spPr>
          <a:xfrm>
            <a:off x="216024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cxnSp>
        <p:nvCxnSpPr>
          <p:cNvPr id="19" name="Straight Arrow Connector 18"/>
          <p:cNvCxnSpPr/>
          <p:nvPr>
            <p:custDataLst>
              <p:tags r:id="rId9"/>
            </p:custDataLst>
          </p:nvPr>
        </p:nvCxnSpPr>
        <p:spPr bwMode="auto">
          <a:xfrm>
            <a:off x="1259632" y="5919083"/>
            <a:ext cx="727280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cxnSp>
        <p:nvCxnSpPr>
          <p:cNvPr id="20" name="Straight Arrow Connector 19"/>
          <p:cNvCxnSpPr/>
          <p:nvPr>
            <p:custDataLst>
              <p:tags r:id="rId10"/>
            </p:custDataLst>
          </p:nvPr>
        </p:nvCxnSpPr>
        <p:spPr bwMode="auto">
          <a:xfrm flipV="1">
            <a:off x="1259632" y="1598601"/>
            <a:ext cx="0" cy="432048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22" name="Rounded Rectangle 21"/>
          <p:cNvSpPr/>
          <p:nvPr/>
        </p:nvSpPr>
        <p:spPr>
          <a:xfrm>
            <a:off x="1789040" y="4843546"/>
            <a:ext cx="1512168" cy="792088"/>
          </a:xfrm>
          <a:prstGeom prst="roundRect">
            <a:avLst/>
          </a:prstGeom>
          <a:noFill/>
          <a:ln>
            <a:solidFill>
              <a:srgbClr val="00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2" descr="http://www.jaxtr.com/user/img/rates/icon_landline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6288" y="4987562"/>
            <a:ext cx="304800" cy="342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http://images-1.findicons.com/files/icons/1580/devine_icons_part_2/128/my_computer.png"/>
          <p:cNvPicPr>
            <a:picLocks noChangeAspect="1" noChangeArrowheads="1"/>
          </p:cNvPicPr>
          <p:nvPr/>
        </p:nvPicPr>
        <p:blipFill rotWithShape="1">
          <a:blip r:embed="rId2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5" b="4697"/>
          <a:stretch/>
        </p:blipFill>
        <p:spPr bwMode="auto">
          <a:xfrm>
            <a:off x="2267744" y="5025120"/>
            <a:ext cx="504056" cy="317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 descr="http://somethingcliche.com/wp-content/uploads/2011/02/icon.png"/>
          <p:cNvPicPr>
            <a:picLocks noChangeAspect="1" noChangeArrowheads="1"/>
          </p:cNvPicPr>
          <p:nvPr/>
        </p:nvPicPr>
        <p:blipFill rotWithShape="1">
          <a:blip r:embed="rId2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39"/>
          <a:stretch/>
        </p:blipFill>
        <p:spPr bwMode="auto">
          <a:xfrm>
            <a:off x="2762306" y="4975919"/>
            <a:ext cx="432048" cy="354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1812283" y="5374024"/>
            <a:ext cx="4924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Voice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81712" y="5374024"/>
            <a:ext cx="6078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Internet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797152" y="5363195"/>
            <a:ext cx="3321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TV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Picture 7" descr="http://somethingcliche.com/wp-content/uploads/2011/02/icon.png"/>
          <p:cNvPicPr>
            <a:picLocks noChangeAspect="1" noChangeArrowheads="1"/>
          </p:cNvPicPr>
          <p:nvPr/>
        </p:nvPicPr>
        <p:blipFill rotWithShape="1">
          <a:blip r:embed="rId2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39"/>
          <a:stretch/>
        </p:blipFill>
        <p:spPr bwMode="auto">
          <a:xfrm>
            <a:off x="3779912" y="4016745"/>
            <a:ext cx="360039" cy="295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3" descr="http://dribbble.com/system/users/6066/screenshots/164144/videoconf_icon.png?1309036032"/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04" t="30498" r="26915" b="31453"/>
          <a:stretch/>
        </p:blipFill>
        <p:spPr bwMode="auto">
          <a:xfrm>
            <a:off x="3851920" y="4312197"/>
            <a:ext cx="360040" cy="316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0" descr="http://www.activfinancial.com/images/website/tabs-lowlatency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4561653"/>
            <a:ext cx="415629" cy="510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5" descr="http://images-1.findicons.com/files/icons/1580/devine_icons_part_2/128/my_computer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 rotWithShape="1">
          <a:blip r:embed="rId2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35" b="4697"/>
          <a:stretch/>
        </p:blipFill>
        <p:spPr bwMode="auto">
          <a:xfrm>
            <a:off x="3779912" y="5052923"/>
            <a:ext cx="504056" cy="317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4211960" y="4104075"/>
            <a:ext cx="13067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Multi-room 3D/HDTV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252632" y="4379458"/>
            <a:ext cx="125547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Video conferencing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245707" y="4685655"/>
            <a:ext cx="1478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Low latency for online gaming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245707" y="5104064"/>
            <a:ext cx="1478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Home office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3635896" y="3850082"/>
            <a:ext cx="2088232" cy="1785552"/>
          </a:xfrm>
          <a:prstGeom prst="roundRect">
            <a:avLst>
              <a:gd name="adj" fmla="val 7183"/>
            </a:avLst>
          </a:prstGeom>
          <a:noFill/>
          <a:ln>
            <a:solidFill>
              <a:srgbClr val="00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9" name="Picture 7" descr="http://somethingcliche.com/wp-content/uploads/2011/02/icon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 rotWithShape="1">
          <a:blip r:embed="rId2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939"/>
          <a:stretch/>
        </p:blipFill>
        <p:spPr bwMode="auto">
          <a:xfrm>
            <a:off x="6300193" y="3326795"/>
            <a:ext cx="360039" cy="295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2" descr="http://blog.cbcivideo.com/Portals/23687/images/purpose_icon-resized-600.png"/>
          <p:cNvPicPr>
            <a:picLocks noChangeAspect="1" noChangeArrowheads="1"/>
          </p:cNvPicPr>
          <p:nvPr/>
        </p:nvPicPr>
        <p:blipFill rotWithShape="1">
          <a:blip r:embed="rId2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30" t="38296" r="-797" b="37955"/>
          <a:stretch/>
        </p:blipFill>
        <p:spPr bwMode="auto">
          <a:xfrm>
            <a:off x="6336196" y="3758843"/>
            <a:ext cx="288031" cy="184547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5" descr="http://www.growmap.com/wp-content/uploads/2011/07/web_database_icon.jpg"/>
          <p:cNvPicPr>
            <a:picLocks noChangeAspect="1" noChangeArrowheads="1"/>
          </p:cNvPicPr>
          <p:nvPr/>
        </p:nvPicPr>
        <p:blipFill>
          <a:blip r:embed="rId2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331263" y="4059889"/>
            <a:ext cx="256962" cy="256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7" descr="http://rocketdock.com/images/screenshots/gear-wheel.JPG"/>
          <p:cNvPicPr>
            <a:picLocks noChangeAspect="1" noChangeArrowheads="1"/>
          </p:cNvPicPr>
          <p:nvPr/>
        </p:nvPicPr>
        <p:blipFill rotWithShape="1">
          <a:blip r:embed="rId2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4" t="7103" r="52433" b="10449"/>
          <a:stretch/>
        </p:blipFill>
        <p:spPr bwMode="auto">
          <a:xfrm>
            <a:off x="6300193" y="4385148"/>
            <a:ext cx="390960" cy="405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9" descr="http://www.nmbisol.com/images/Video_security_icon.jpg"/>
          <p:cNvPicPr>
            <a:picLocks noChangeAspect="1" noChangeArrowheads="1"/>
          </p:cNvPicPr>
          <p:nvPr/>
        </p:nvPicPr>
        <p:blipFill>
          <a:blip r:embed="rId2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886" y="4912002"/>
            <a:ext cx="373267" cy="287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31" descr="http://static.tumblr.com/kqu9qzk/jTckze0q9/black_star_icon_sticker-p217239550772133077qjcl_400.jpg"/>
          <p:cNvPicPr>
            <a:picLocks noChangeAspect="1" noChangeArrowheads="1"/>
          </p:cNvPicPr>
          <p:nvPr/>
        </p:nvPicPr>
        <p:blipFill>
          <a:blip r:embed="rId2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126" y="5159927"/>
            <a:ext cx="351515" cy="351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6660232" y="3326795"/>
            <a:ext cx="8130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Multi-room </a:t>
            </a:r>
          </a:p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4k/8k TV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660232" y="3686835"/>
            <a:ext cx="8835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Point-to-MP</a:t>
            </a:r>
          </a:p>
          <a:p>
            <a:r>
              <a:rPr lang="sr-Latn-RS" sz="900" b="1" dirty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t</a:t>
            </a:r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elepresence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660232" y="4037583"/>
            <a:ext cx="973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All data and </a:t>
            </a:r>
          </a:p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ntent online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660232" y="4406915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Remote</a:t>
            </a:r>
          </a:p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computing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660232" y="4896163"/>
            <a:ext cx="8643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urveillance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660232" y="5199003"/>
            <a:ext cx="7232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Killer </a:t>
            </a:r>
          </a:p>
          <a:p>
            <a:r>
              <a:rPr lang="sr-Latn-RS" sz="900" b="1" dirty="0" smtClean="0">
                <a:solidFill>
                  <a:srgbClr val="AACAFF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aplication</a:t>
            </a:r>
            <a:endParaRPr lang="sr-Latn-RS" sz="900" b="1" dirty="0">
              <a:solidFill>
                <a:srgbClr val="AACAFF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ounded Rectangle 54"/>
          <p:cNvSpPr/>
          <p:nvPr>
            <p:custDataLst>
              <p:tags r:id="rId14"/>
            </p:custDataLst>
          </p:nvPr>
        </p:nvSpPr>
        <p:spPr>
          <a:xfrm>
            <a:off x="6057903" y="3182779"/>
            <a:ext cx="2088232" cy="2458085"/>
          </a:xfrm>
          <a:prstGeom prst="roundRect">
            <a:avLst>
              <a:gd name="adj" fmla="val 7183"/>
            </a:avLst>
          </a:prstGeom>
          <a:noFill/>
          <a:ln>
            <a:solidFill>
              <a:srgbClr val="00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Circular Arrow 55"/>
          <p:cNvSpPr/>
          <p:nvPr/>
        </p:nvSpPr>
        <p:spPr>
          <a:xfrm rot="20208185">
            <a:off x="1843213" y="2697686"/>
            <a:ext cx="3290667" cy="3412205"/>
          </a:xfrm>
          <a:prstGeom prst="circularArrow">
            <a:avLst>
              <a:gd name="adj1" fmla="val 8322"/>
              <a:gd name="adj2" fmla="val 1013511"/>
              <a:gd name="adj3" fmla="val 20012653"/>
              <a:gd name="adj4" fmla="val 11208277"/>
              <a:gd name="adj5" fmla="val 125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Circular Arrow 56"/>
          <p:cNvSpPr/>
          <p:nvPr/>
        </p:nvSpPr>
        <p:spPr>
          <a:xfrm rot="21050781">
            <a:off x="4595243" y="1686015"/>
            <a:ext cx="3319690" cy="3664444"/>
          </a:xfrm>
          <a:prstGeom prst="circularArrow">
            <a:avLst>
              <a:gd name="adj1" fmla="val 8322"/>
              <a:gd name="adj2" fmla="val 960256"/>
              <a:gd name="adj3" fmla="val 20012653"/>
              <a:gd name="adj4" fmla="val 11208277"/>
              <a:gd name="adj5" fmla="val 125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754365" y="5115400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26125" y="3760584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0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04297" y="2187528"/>
            <a:ext cx="7617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00 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467544" y="1517303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bps</a:t>
            </a:r>
            <a:endParaRPr lang="sr-Latn-R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282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6588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68313" y="325438"/>
            <a:ext cx="7620000" cy="511274"/>
          </a:xfrm>
        </p:spPr>
        <p:txBody>
          <a:bodyPr/>
          <a:lstStyle/>
          <a:p>
            <a:r>
              <a:rPr lang="sr-Latn-RS" sz="2000" dirty="0" smtClean="0">
                <a:latin typeface="Arial" pitchFamily="34" charset="0"/>
                <a:cs typeface="Arial" pitchFamily="34" charset="0"/>
              </a:rPr>
              <a:t>Future household in Serbia</a:t>
            </a:r>
            <a:endParaRPr lang="sr-Latn-R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671CEA7B-63D4-4DD0-A3AD-354F37C35002}" type="slidenum">
              <a:rPr lang="en-US" smtClean="0">
                <a:solidFill>
                  <a:srgbClr val="FFFFFF"/>
                </a:solidFill>
              </a:rPr>
              <a:pPr/>
              <a:t>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87046" name="Picture 6" descr="http://fennerlaw.files.wordpress.com/2011/02/img_20110130_100541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9180512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365418" y="447055"/>
            <a:ext cx="8531144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sz="2000" dirty="0" smtClean="0">
                <a:solidFill>
                  <a:srgbClr val="000000"/>
                </a:solidFill>
                <a:latin typeface="Arial" charset="0"/>
              </a:rPr>
              <a:t>The increasingly connected </a:t>
            </a:r>
            <a:r>
              <a:rPr lang="sr-Latn-RS" sz="2000" dirty="0" smtClean="0">
                <a:solidFill>
                  <a:srgbClr val="000000"/>
                </a:solidFill>
                <a:latin typeface="Arial" charset="0"/>
              </a:rPr>
              <a:t>Serbian household.</a:t>
            </a:r>
            <a:endParaRPr lang="sr-Latn-RS" i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9" name="TextBox 18"/>
          <p:cNvSpPr txBox="1"/>
          <p:nvPr>
            <p:custDataLst>
              <p:tags r:id="rId8"/>
            </p:custDataLst>
          </p:nvPr>
        </p:nvSpPr>
        <p:spPr>
          <a:xfrm>
            <a:off x="355910" y="2924944"/>
            <a:ext cx="2902054" cy="1663788"/>
          </a:xfrm>
          <a:prstGeom prst="rect">
            <a:avLst/>
          </a:prstGeom>
          <a:solidFill>
            <a:schemeClr val="bg1">
              <a:alpha val="48000"/>
            </a:schemeClr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RS" sz="36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</a:rPr>
              <a:t>82</a:t>
            </a:r>
            <a:r>
              <a:rPr lang="sr-Latn-RS" sz="1600" dirty="0" smtClean="0">
                <a:solidFill>
                  <a:srgbClr val="000000"/>
                </a:solidFill>
                <a:latin typeface="Impact" pitchFamily="34" charset="0"/>
                <a:sym typeface="Wingdings"/>
              </a:rPr>
              <a:t></a:t>
            </a:r>
            <a:r>
              <a:rPr lang="sr-Latn-RS" sz="4800" dirty="0" smtClean="0">
                <a:ln w="17780" cmpd="sng">
                  <a:noFill/>
                  <a:prstDash val="solid"/>
                  <a:miter lim="800000"/>
                </a:ln>
                <a:solidFill>
                  <a:srgbClr val="000000"/>
                </a:solidFill>
                <a:latin typeface="Impact" pitchFamily="34" charset="0"/>
              </a:rPr>
              <a:t>90%</a:t>
            </a:r>
            <a:r>
              <a:rPr lang="sr-Latn-RS" sz="3600" dirty="0" smtClean="0">
                <a:solidFill>
                  <a:srgbClr val="000000"/>
                </a:solidFill>
                <a:latin typeface="Impact" pitchFamily="34" charset="0"/>
              </a:rPr>
              <a:t> 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of h</a:t>
            </a: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ousehold</a:t>
            </a: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s</a:t>
            </a: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 will have mobile phone</a:t>
            </a: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, of which </a:t>
            </a:r>
            <a:r>
              <a:rPr lang="sr-Latn-RS" sz="1600" dirty="0">
                <a:solidFill>
                  <a:srgbClr val="000000"/>
                </a:solidFill>
                <a:latin typeface="Impact" pitchFamily="34" charset="0"/>
              </a:rPr>
              <a:t>~30</a:t>
            </a:r>
            <a:r>
              <a:rPr lang="sr-Latn-RS" sz="1600" dirty="0" smtClean="0">
                <a:solidFill>
                  <a:srgbClr val="000000"/>
                </a:solidFill>
                <a:latin typeface="Impact" pitchFamily="34" charset="0"/>
              </a:rPr>
              <a:t>%</a:t>
            </a:r>
            <a:endParaRPr lang="sr-Latn-R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will have</a:t>
            </a: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 WiFi enabled</a:t>
            </a: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SMARTHPHONES </a:t>
            </a:r>
            <a:endParaRPr lang="sr-Latn-R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7064" name="Picture 24" descr="http://www.laptopsarena.com/wp-content/uploads/2010/01/images-for-laptop-skins.jp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5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0" b="90000" l="15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827" y="5439163"/>
            <a:ext cx="1810166" cy="1448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066" name="Picture 26" descr="http://dlink-wireless-router.com/wp-content/uploads/2010/11/belkin-wireless-router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0" b="96250" l="3135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19" y="5327559"/>
            <a:ext cx="1055034" cy="835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>
            <p:custDataLst>
              <p:tags r:id="rId11"/>
            </p:custDataLst>
          </p:nvPr>
        </p:nvSpPr>
        <p:spPr>
          <a:xfrm>
            <a:off x="3401980" y="2924944"/>
            <a:ext cx="3039543" cy="1663787"/>
          </a:xfrm>
          <a:prstGeom prst="rect">
            <a:avLst/>
          </a:prstGeom>
          <a:solidFill>
            <a:schemeClr val="bg1">
              <a:alpha val="44000"/>
            </a:schemeClr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RS" sz="36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</a:rPr>
              <a:t>10</a:t>
            </a:r>
            <a:r>
              <a:rPr lang="sr-Latn-RS" dirty="0" smtClean="0">
                <a:solidFill>
                  <a:srgbClr val="000000"/>
                </a:solidFill>
                <a:latin typeface="Impact" pitchFamily="34" charset="0"/>
                <a:sym typeface="Wingdings"/>
              </a:rPr>
              <a:t></a:t>
            </a:r>
            <a:r>
              <a:rPr lang="nb-NO" sz="4800" dirty="0" smtClean="0">
                <a:solidFill>
                  <a:srgbClr val="000000"/>
                </a:solidFill>
                <a:latin typeface="Impact" pitchFamily="34" charset="0"/>
              </a:rPr>
              <a:t>60</a:t>
            </a:r>
            <a:r>
              <a:rPr lang="sr-Latn-RS" sz="4800" dirty="0" smtClean="0">
                <a:solidFill>
                  <a:srgbClr val="000000"/>
                </a:solidFill>
                <a:latin typeface="Impact" pitchFamily="34" charset="0"/>
              </a:rPr>
              <a:t>%</a:t>
            </a:r>
            <a:endParaRPr lang="sr-Latn-RS" sz="3600" dirty="0" smtClean="0">
              <a:solidFill>
                <a:srgbClr val="000000"/>
              </a:solidFill>
              <a:latin typeface="Impact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of all connected HH</a:t>
            </a: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s</a:t>
            </a: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 will use </a:t>
            </a: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WiFi </a:t>
            </a: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for accessing Internet via laptops, tablets, smartphones</a:t>
            </a:r>
            <a:endParaRPr lang="sr-Latn-RS" sz="12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2" name="TextBox 41"/>
          <p:cNvSpPr txBox="1"/>
          <p:nvPr>
            <p:custDataLst>
              <p:tags r:id="rId12"/>
            </p:custDataLst>
          </p:nvPr>
        </p:nvSpPr>
        <p:spPr>
          <a:xfrm>
            <a:off x="6876256" y="1651072"/>
            <a:ext cx="2091564" cy="3231654"/>
          </a:xfrm>
          <a:prstGeom prst="rect">
            <a:avLst/>
          </a:prstGeom>
          <a:solidFill>
            <a:schemeClr val="bg1">
              <a:alpha val="38000"/>
            </a:schemeClr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sz="6600" b="1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itchFamily="34" charset="0"/>
              </a:rPr>
              <a:t>7</a:t>
            </a:r>
            <a:r>
              <a:rPr lang="sr-Latn-RS" sz="6600" b="1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itchFamily="34" charset="0"/>
              </a:rPr>
              <a:t>0%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r-Latn-RS" sz="2400" dirty="0" smtClean="0">
                <a:solidFill>
                  <a:srgbClr val="000000"/>
                </a:solidFill>
                <a:latin typeface="Arial" charset="0"/>
              </a:rPr>
              <a:t>of all data traffic will take place indoo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r-Latn-RS" sz="1400" i="1" dirty="0" smtClean="0">
                <a:solidFill>
                  <a:srgbClr val="000000"/>
                </a:solidFill>
                <a:latin typeface="Arial" charset="0"/>
              </a:rPr>
              <a:t>(desktops, laptops, smartphones, tablets)</a:t>
            </a:r>
            <a:r>
              <a:rPr lang="nb-NO" sz="1400" i="1" dirty="0" smtClean="0">
                <a:solidFill>
                  <a:srgbClr val="000000"/>
                </a:solidFill>
                <a:latin typeface="Arial" charset="0"/>
              </a:rPr>
              <a:t>, consumer electronics</a:t>
            </a:r>
            <a:endParaRPr lang="sr-Latn-RS" sz="1400" i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" name="TextBox 2"/>
          <p:cNvSpPr txBox="1"/>
          <p:nvPr>
            <p:custDataLst>
              <p:tags r:id="rId13"/>
            </p:custDataLst>
          </p:nvPr>
        </p:nvSpPr>
        <p:spPr>
          <a:xfrm>
            <a:off x="6698677" y="6487452"/>
            <a:ext cx="183736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r-Latn-RS" sz="1050" i="1" dirty="0" smtClean="0">
                <a:solidFill>
                  <a:srgbClr val="000000"/>
                </a:solidFill>
                <a:latin typeface="Arial" charset="0"/>
              </a:rPr>
              <a:t>*</a:t>
            </a:r>
            <a:r>
              <a:rPr lang="sr-Latn-RS" sz="1050" i="1" dirty="0" smtClean="0">
                <a:solidFill>
                  <a:srgbClr val="FF0000"/>
                </a:solidFill>
                <a:latin typeface="Arial" charset="0"/>
              </a:rPr>
              <a:t>2016 </a:t>
            </a:r>
            <a:r>
              <a:rPr lang="sr-Latn-RS" sz="1050" i="1" dirty="0" smtClean="0">
                <a:solidFill>
                  <a:srgbClr val="000000"/>
                </a:solidFill>
                <a:latin typeface="Arial" charset="0"/>
              </a:rPr>
              <a:t>to 2020 development</a:t>
            </a:r>
            <a:endParaRPr lang="sr-Latn-RS" sz="1050" i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14"/>
            </p:custDataLst>
          </p:nvPr>
        </p:nvSpPr>
        <p:spPr>
          <a:xfrm>
            <a:off x="3404665" y="4713798"/>
            <a:ext cx="3039543" cy="1518795"/>
          </a:xfrm>
          <a:prstGeom prst="rect">
            <a:avLst/>
          </a:prstGeom>
          <a:solidFill>
            <a:schemeClr val="bg1">
              <a:alpha val="48000"/>
            </a:schemeClr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RS" sz="2400" dirty="0" smtClean="0">
                <a:solidFill>
                  <a:srgbClr val="000000"/>
                </a:solidFill>
                <a:latin typeface="Impact" pitchFamily="34" charset="0"/>
              </a:rPr>
              <a:t>&lt;</a:t>
            </a:r>
            <a:r>
              <a:rPr lang="sr-Latn-RS" sz="4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</a:rPr>
              <a:t>15%</a:t>
            </a:r>
            <a:r>
              <a:rPr lang="sr-Latn-RS" sz="2000" dirty="0" smtClean="0">
                <a:solidFill>
                  <a:srgbClr val="000000"/>
                </a:solidFill>
                <a:latin typeface="Impact" pitchFamily="34" charset="0"/>
                <a:sym typeface="Wingdings"/>
              </a:rPr>
              <a:t></a:t>
            </a:r>
            <a:r>
              <a:rPr lang="sr-Latn-RS" sz="4800" dirty="0" smtClean="0">
                <a:solidFill>
                  <a:srgbClr val="000000"/>
                </a:solidFill>
                <a:latin typeface="Impact" pitchFamily="34" charset="0"/>
              </a:rPr>
              <a:t>45%</a:t>
            </a:r>
            <a:r>
              <a:rPr lang="sr-Latn-RS" sz="4000" dirty="0" smtClean="0">
                <a:solidFill>
                  <a:srgbClr val="000000"/>
                </a:solidFill>
                <a:latin typeface="Impact" pitchFamily="34" charset="0"/>
              </a:rPr>
              <a:t> </a:t>
            </a:r>
            <a:r>
              <a:rPr lang="sr-Latn-RS" sz="1400" dirty="0" smtClean="0">
                <a:solidFill>
                  <a:srgbClr val="000000"/>
                </a:solidFill>
                <a:latin typeface="Arial" charset="0"/>
              </a:rPr>
              <a:t>of consumer eletronics</a:t>
            </a:r>
            <a:r>
              <a:rPr lang="nb-NO" sz="1400" dirty="0" smtClean="0">
                <a:solidFill>
                  <a:srgbClr val="000000"/>
                </a:solidFill>
                <a:latin typeface="Arial" charset="0"/>
              </a:rPr>
              <a:t> will be </a:t>
            </a:r>
            <a:r>
              <a:rPr lang="sr-Latn-RS" sz="1400" dirty="0" smtClean="0">
                <a:solidFill>
                  <a:srgbClr val="000000"/>
                </a:solidFill>
                <a:latin typeface="Arial" charset="0"/>
              </a:rPr>
              <a:t>connected </a:t>
            </a:r>
            <a:endParaRPr lang="sr-Latn-RS" sz="1400" dirty="0" smtClean="0">
              <a:solidFill>
                <a:srgbClr val="000000"/>
              </a:solidFill>
              <a:latin typeface="Impact" pitchFamily="34" charset="0"/>
            </a:endParaRPr>
          </a:p>
        </p:txBody>
      </p:sp>
      <p:sp>
        <p:nvSpPr>
          <p:cNvPr id="8" name="Rectangle 7"/>
          <p:cNvSpPr/>
          <p:nvPr>
            <p:custDataLst>
              <p:tags r:id="rId15"/>
            </p:custDataLst>
          </p:nvPr>
        </p:nvSpPr>
        <p:spPr>
          <a:xfrm>
            <a:off x="8134014" y="5810738"/>
            <a:ext cx="787396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r-Latn-RS" sz="2400" dirty="0" smtClean="0">
                <a:ln w="18415" cmpd="sng">
                  <a:noFill/>
                  <a:prstDash val="solid"/>
                </a:ln>
                <a:solidFill>
                  <a:srgbClr val="FF0000"/>
                </a:solidFill>
                <a:latin typeface="Impact" pitchFamily="34" charset="0"/>
              </a:rPr>
              <a:t>2016</a:t>
            </a:r>
            <a:endParaRPr lang="en-US" sz="2400" dirty="0">
              <a:ln w="18415" cmpd="sng">
                <a:noFill/>
                <a:prstDash val="solid"/>
              </a:ln>
              <a:solidFill>
                <a:srgbClr val="FF0000"/>
              </a:solidFill>
              <a:latin typeface="Impact" pitchFamily="34" charset="0"/>
            </a:endParaRPr>
          </a:p>
        </p:txBody>
      </p:sp>
      <p:sp>
        <p:nvSpPr>
          <p:cNvPr id="27" name="Rectangle 26"/>
          <p:cNvSpPr/>
          <p:nvPr>
            <p:custDataLst>
              <p:tags r:id="rId16"/>
            </p:custDataLst>
          </p:nvPr>
        </p:nvSpPr>
        <p:spPr>
          <a:xfrm>
            <a:off x="8124708" y="6131915"/>
            <a:ext cx="822662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r-Latn-RS" sz="2400" dirty="0" smtClean="0">
                <a:ln w="18415" cmpd="sng">
                  <a:noFill/>
                  <a:prstDash val="solid"/>
                </a:ln>
                <a:solidFill>
                  <a:srgbClr val="000000"/>
                </a:solidFill>
                <a:latin typeface="Impact" pitchFamily="34" charset="0"/>
              </a:rPr>
              <a:t>2020</a:t>
            </a:r>
            <a:endParaRPr lang="en-US" sz="2400" dirty="0">
              <a:ln w="18415" cmpd="sng">
                <a:noFill/>
                <a:prstDash val="solid"/>
              </a:ln>
              <a:solidFill>
                <a:srgbClr val="000000"/>
              </a:solidFill>
              <a:latin typeface="Impact" pitchFamily="34" charset="0"/>
            </a:endParaRPr>
          </a:p>
        </p:txBody>
      </p:sp>
      <p:sp>
        <p:nvSpPr>
          <p:cNvPr id="11" name="Rectangle 10"/>
          <p:cNvSpPr/>
          <p:nvPr>
            <p:custDataLst>
              <p:tags r:id="rId17"/>
            </p:custDataLst>
          </p:nvPr>
        </p:nvSpPr>
        <p:spPr>
          <a:xfrm>
            <a:off x="365418" y="1682786"/>
            <a:ext cx="6078790" cy="1098142"/>
          </a:xfrm>
          <a:prstGeom prst="rect">
            <a:avLst/>
          </a:prstGeom>
          <a:solidFill>
            <a:schemeClr val="accent3">
              <a:alpha val="62000"/>
            </a:schemeClr>
          </a:solidFill>
        </p:spPr>
        <p:txBody>
          <a:bodyPr wrap="none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RS" sz="4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</a:rPr>
              <a:t>30</a:t>
            </a:r>
            <a:r>
              <a:rPr lang="sr-Latn-RS" dirty="0" smtClean="0">
                <a:solidFill>
                  <a:srgbClr val="000000"/>
                </a:solidFill>
                <a:latin typeface="Impact" pitchFamily="34" charset="0"/>
                <a:sym typeface="Wingdings"/>
              </a:rPr>
              <a:t></a:t>
            </a:r>
            <a:r>
              <a:rPr lang="sr-Latn-RS" sz="5400" dirty="0" smtClean="0">
                <a:ln w="17780" cmpd="sng">
                  <a:noFill/>
                  <a:prstDash val="solid"/>
                  <a:miter lim="800000"/>
                </a:ln>
                <a:solidFill>
                  <a:srgbClr val="000000"/>
                </a:solidFill>
                <a:latin typeface="Impact" pitchFamily="34" charset="0"/>
                <a:sym typeface="Wingdings"/>
              </a:rPr>
              <a:t>70</a:t>
            </a:r>
            <a:r>
              <a:rPr lang="sr-Latn-RS" sz="5400" dirty="0" smtClean="0">
                <a:ln w="17780" cmpd="sng">
                  <a:noFill/>
                  <a:prstDash val="solid"/>
                  <a:miter lim="800000"/>
                </a:ln>
                <a:solidFill>
                  <a:srgbClr val="000000"/>
                </a:solidFill>
                <a:latin typeface="Impact" pitchFamily="34" charset="0"/>
              </a:rPr>
              <a:t>%</a:t>
            </a:r>
          </a:p>
        </p:txBody>
      </p:sp>
      <p:sp>
        <p:nvSpPr>
          <p:cNvPr id="12" name="TextBox 11"/>
          <p:cNvSpPr txBox="1"/>
          <p:nvPr>
            <p:custDataLst>
              <p:tags r:id="rId18"/>
            </p:custDataLst>
          </p:nvPr>
        </p:nvSpPr>
        <p:spPr>
          <a:xfrm>
            <a:off x="2123728" y="2473151"/>
            <a:ext cx="26500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 HHs will have private WiFi</a:t>
            </a:r>
            <a:endParaRPr lang="sr-Latn-R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>
            <p:custDataLst>
              <p:tags r:id="rId19"/>
            </p:custDataLst>
          </p:nvPr>
        </p:nvSpPr>
        <p:spPr>
          <a:xfrm>
            <a:off x="355910" y="4713798"/>
            <a:ext cx="2902054" cy="1518796"/>
          </a:xfrm>
          <a:prstGeom prst="rect">
            <a:avLst/>
          </a:prstGeom>
          <a:solidFill>
            <a:schemeClr val="bg1">
              <a:alpha val="48000"/>
            </a:schemeClr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RS" sz="36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</a:rPr>
              <a:t>55</a:t>
            </a:r>
            <a:r>
              <a:rPr lang="sr-Latn-RS" sz="2000" dirty="0" smtClean="0">
                <a:solidFill>
                  <a:srgbClr val="000000"/>
                </a:solidFill>
                <a:latin typeface="Impact" pitchFamily="34" charset="0"/>
                <a:sym typeface="Wingdings"/>
              </a:rPr>
              <a:t></a:t>
            </a:r>
            <a:r>
              <a:rPr lang="sr-Latn-RS" sz="4800" dirty="0" smtClean="0">
                <a:solidFill>
                  <a:srgbClr val="000000"/>
                </a:solidFill>
                <a:latin typeface="Impact" pitchFamily="34" charset="0"/>
              </a:rPr>
              <a:t>70%</a:t>
            </a:r>
            <a:r>
              <a:rPr lang="sr-Latn-RS" sz="3600" dirty="0" smtClean="0">
                <a:solidFill>
                  <a:srgbClr val="000000"/>
                </a:solidFill>
                <a:latin typeface="Impact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sz="1200" dirty="0">
                <a:solidFill>
                  <a:srgbClr val="000000"/>
                </a:solidFill>
                <a:latin typeface="Arial" charset="0"/>
              </a:rPr>
              <a:t>o</a:t>
            </a: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f h</a:t>
            </a: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ousehold</a:t>
            </a: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s</a:t>
            </a: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 will have </a:t>
            </a:r>
            <a:r>
              <a:rPr lang="nb-NO" sz="1200" dirty="0" smtClean="0">
                <a:solidFill>
                  <a:srgbClr val="000000"/>
                </a:solidFill>
                <a:latin typeface="Arial" charset="0"/>
              </a:rPr>
              <a:t>fixed </a:t>
            </a:r>
            <a:r>
              <a:rPr lang="sr-Latn-RS" sz="1200" dirty="0" smtClean="0">
                <a:solidFill>
                  <a:srgbClr val="000000"/>
                </a:solidFill>
                <a:latin typeface="Arial" charset="0"/>
              </a:rPr>
              <a:t>Internet access</a:t>
            </a:r>
          </a:p>
        </p:txBody>
      </p:sp>
      <p:pic>
        <p:nvPicPr>
          <p:cNvPr id="31" name="Picture 8" descr="http://flagspot.net/images/r/rs-st1.gif"/>
          <p:cNvPicPr>
            <a:picLocks noChangeAspect="1" noChangeArrowheads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350"/>
          <a:stretch/>
        </p:blipFill>
        <p:spPr bwMode="auto">
          <a:xfrm>
            <a:off x="8471928" y="216737"/>
            <a:ext cx="495892" cy="30743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862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150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827584" y="404664"/>
            <a:ext cx="5753881" cy="576064"/>
          </a:xfrm>
        </p:spPr>
        <p:txBody>
          <a:bodyPr/>
          <a:lstStyle/>
          <a:p>
            <a:r>
              <a:rPr lang="sr-Latn-RS" sz="1800" dirty="0" smtClean="0">
                <a:latin typeface="Arial" pitchFamily="34" charset="0"/>
                <a:cs typeface="Arial" pitchFamily="34" charset="0"/>
              </a:rPr>
              <a:t>Networks evolution: more, higher, faster, everywhere.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5"/>
            </p:custDataLst>
          </p:nvPr>
        </p:nvCxnSpPr>
        <p:spPr>
          <a:xfrm>
            <a:off x="395536" y="1124744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6"/>
            </p:custDataLst>
          </p:nvPr>
        </p:nvSpPr>
        <p:spPr>
          <a:xfrm>
            <a:off x="6732240" y="260648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CS" dirty="0" smtClean="0">
                <a:solidFill>
                  <a:srgbClr val="FFFFFF"/>
                </a:solidFill>
                <a:latin typeface="Arial" charset="0"/>
              </a:rPr>
              <a:t>Trends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45" name="TextBox 47"/>
          <p:cNvSpPr txBox="1"/>
          <p:nvPr>
            <p:custDataLst>
              <p:tags r:id="rId7"/>
            </p:custDataLst>
          </p:nvPr>
        </p:nvSpPr>
        <p:spPr>
          <a:xfrm>
            <a:off x="216024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48" y="2132856"/>
            <a:ext cx="7922752" cy="3271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8060388" y="3624457"/>
            <a:ext cx="588624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r-Latn-RS" sz="28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Impact" panose="020B0806030902050204" pitchFamily="34" charset="0"/>
              </a:rPr>
              <a:t>5G</a:t>
            </a:r>
            <a:endParaRPr lang="en-US" sz="2800" b="1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Impact" panose="020B080603090205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988381" y="3018986"/>
            <a:ext cx="864096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sr-Latn-RS" sz="1200" dirty="0">
                <a:latin typeface="Arial" panose="020B0604020202020204" pitchFamily="34" charset="0"/>
                <a:cs typeface="Arial" panose="020B0604020202020204" pitchFamily="34" charset="0"/>
              </a:rPr>
              <a:t>Satellite internet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590452" y="2338953"/>
            <a:ext cx="1528495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sr-Latn-R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Balloon powered Internet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2051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405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41" imgW="216" imgH="216" progId="TCLayout.ActiveDocument.1">
                  <p:embed/>
                </p:oleObj>
              </mc:Choice>
              <mc:Fallback>
                <p:oleObj name="think-cell Slide" r:id="rId4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1600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4224" y="409259"/>
            <a:ext cx="5659984" cy="427454"/>
          </a:xfrm>
        </p:spPr>
        <p:txBody>
          <a:bodyPr/>
          <a:lstStyle/>
          <a:p>
            <a:r>
              <a:rPr lang="sr-Latn-R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Snapshot of ICT market in Serbia. Key players &amp; RMS.</a:t>
            </a:r>
            <a:endParaRPr lang="sr-Latn-R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79512" y="6309320"/>
            <a:ext cx="48894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r-Latn-RS" sz="10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¹Cal</a:t>
            </a:r>
            <a:r>
              <a:rPr lang="en-US" sz="1000" i="1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</a:t>
            </a:r>
            <a:r>
              <a:rPr lang="sr-Latn-RS" sz="10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d ICT shares other than mobile are indicative, due to lack of valid data </a:t>
            </a:r>
          </a:p>
        </p:txBody>
      </p:sp>
      <p:cxnSp>
        <p:nvCxnSpPr>
          <p:cNvPr id="80" name="Straight Connector 79"/>
          <p:cNvCxnSpPr/>
          <p:nvPr>
            <p:custDataLst>
              <p:tags r:id="rId4"/>
            </p:custDataLst>
          </p:nvPr>
        </p:nvCxnSpPr>
        <p:spPr bwMode="auto">
          <a:xfrm>
            <a:off x="1398588" y="5734050"/>
            <a:ext cx="64865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6" name="Rectangle 85"/>
          <p:cNvSpPr/>
          <p:nvPr>
            <p:custDataLst>
              <p:tags r:id="rId5"/>
            </p:custDataLst>
          </p:nvPr>
        </p:nvSpPr>
        <p:spPr bwMode="auto">
          <a:xfrm>
            <a:off x="1403350" y="1663700"/>
            <a:ext cx="3852863" cy="8953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81" name="Rectangle 80"/>
          <p:cNvSpPr/>
          <p:nvPr>
            <p:custDataLst>
              <p:tags r:id="rId6"/>
            </p:custDataLst>
          </p:nvPr>
        </p:nvSpPr>
        <p:spPr bwMode="auto">
          <a:xfrm>
            <a:off x="7429500" y="3495675"/>
            <a:ext cx="450850" cy="223837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82" name="Rectangle 81"/>
          <p:cNvSpPr/>
          <p:nvPr>
            <p:custDataLst>
              <p:tags r:id="rId7"/>
            </p:custDataLst>
          </p:nvPr>
        </p:nvSpPr>
        <p:spPr bwMode="auto">
          <a:xfrm>
            <a:off x="7429500" y="3087688"/>
            <a:ext cx="450850" cy="407988"/>
          </a:xfrm>
          <a:prstGeom prst="rect">
            <a:avLst/>
          </a:prstGeom>
          <a:solidFill>
            <a:srgbClr val="C30C3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83" name="Rectangle 82"/>
          <p:cNvSpPr/>
          <p:nvPr>
            <p:custDataLst>
              <p:tags r:id="rId8"/>
            </p:custDataLst>
          </p:nvPr>
        </p:nvSpPr>
        <p:spPr bwMode="auto">
          <a:xfrm>
            <a:off x="7429500" y="1663700"/>
            <a:ext cx="450850" cy="1423988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87" name="Rectangle 86"/>
          <p:cNvSpPr/>
          <p:nvPr>
            <p:custDataLst>
              <p:tags r:id="rId9"/>
            </p:custDataLst>
          </p:nvPr>
        </p:nvSpPr>
        <p:spPr bwMode="auto">
          <a:xfrm>
            <a:off x="6732588" y="3698875"/>
            <a:ext cx="696913" cy="2035175"/>
          </a:xfrm>
          <a:prstGeom prst="rect">
            <a:avLst/>
          </a:prstGeom>
          <a:solidFill>
            <a:srgbClr val="C30C3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88" name="Rectangle 87"/>
          <p:cNvSpPr/>
          <p:nvPr>
            <p:custDataLst>
              <p:tags r:id="rId10"/>
            </p:custDataLst>
          </p:nvPr>
        </p:nvSpPr>
        <p:spPr bwMode="auto">
          <a:xfrm>
            <a:off x="6732588" y="2681288"/>
            <a:ext cx="696913" cy="1017588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89" name="Rectangle 88"/>
          <p:cNvSpPr/>
          <p:nvPr>
            <p:custDataLst>
              <p:tags r:id="rId11"/>
            </p:custDataLst>
          </p:nvPr>
        </p:nvSpPr>
        <p:spPr bwMode="auto">
          <a:xfrm>
            <a:off x="6732588" y="1663700"/>
            <a:ext cx="696913" cy="1017588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90" name="Rectangle 89"/>
          <p:cNvSpPr/>
          <p:nvPr>
            <p:custDataLst>
              <p:tags r:id="rId12"/>
            </p:custDataLst>
          </p:nvPr>
        </p:nvSpPr>
        <p:spPr bwMode="auto">
          <a:xfrm>
            <a:off x="5256213" y="1744663"/>
            <a:ext cx="1476375" cy="3989388"/>
          </a:xfrm>
          <a:prstGeom prst="rect">
            <a:avLst/>
          </a:prstGeom>
          <a:solidFill>
            <a:srgbClr val="C30C3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91" name="Rectangle 90"/>
          <p:cNvSpPr/>
          <p:nvPr>
            <p:custDataLst>
              <p:tags r:id="rId13"/>
            </p:custDataLst>
          </p:nvPr>
        </p:nvSpPr>
        <p:spPr bwMode="auto">
          <a:xfrm>
            <a:off x="5256213" y="1663700"/>
            <a:ext cx="1476375" cy="80963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84" name="Rectangle 83"/>
          <p:cNvSpPr/>
          <p:nvPr>
            <p:custDataLst>
              <p:tags r:id="rId14"/>
            </p:custDataLst>
          </p:nvPr>
        </p:nvSpPr>
        <p:spPr bwMode="auto">
          <a:xfrm>
            <a:off x="1403350" y="3983038"/>
            <a:ext cx="3852863" cy="1751013"/>
          </a:xfrm>
          <a:prstGeom prst="rect">
            <a:avLst/>
          </a:prstGeom>
          <a:solidFill>
            <a:srgbClr val="00A6D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85" name="Rectangle 84"/>
          <p:cNvSpPr/>
          <p:nvPr>
            <p:custDataLst>
              <p:tags r:id="rId15"/>
            </p:custDataLst>
          </p:nvPr>
        </p:nvSpPr>
        <p:spPr bwMode="auto">
          <a:xfrm>
            <a:off x="1403350" y="2559050"/>
            <a:ext cx="3852863" cy="1423988"/>
          </a:xfrm>
          <a:prstGeom prst="rect">
            <a:avLst/>
          </a:prstGeom>
          <a:solidFill>
            <a:srgbClr val="C30C3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117" name="Text Placeholder 9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187700" y="1393825"/>
            <a:ext cx="2825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182563" indent="-18256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1pPr>
            <a:lvl2pPr marL="182563" indent="-180975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355600" indent="-17938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538163" indent="-1762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720725" indent="-17303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15430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0002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4574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9146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2A69E97A-61C2-42FD-B039-F4F412566A2D}" type="datetime'''''''''''''''''''''''''''''''''''''''''94'''''''''''''''''''">
              <a:rPr lang="en-US" sz="1600">
                <a:latin typeface="Arial"/>
                <a:cs typeface="Arial"/>
                <a:sym typeface="Arial"/>
              </a:rPr>
              <a:pPr marL="0" indent="0" algn="ctr">
                <a:spcAft>
                  <a:spcPct val="0"/>
                </a:spcAft>
              </a:pPr>
              <a:t>94</a:t>
            </a:fld>
            <a:endParaRPr lang="en-US" sz="1600" dirty="0">
              <a:latin typeface="Arial"/>
              <a:cs typeface="Arial"/>
              <a:sym typeface="Arial"/>
            </a:endParaRPr>
          </a:p>
        </p:txBody>
      </p:sp>
      <p:sp>
        <p:nvSpPr>
          <p:cNvPr id="118" name="Text Placeholder 10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853113" y="1393825"/>
            <a:ext cx="2825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182563" indent="-18256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1pPr>
            <a:lvl2pPr marL="182563" indent="-180975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355600" indent="-17938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538163" indent="-1762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720725" indent="-17303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15430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0002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4574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9146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83715888-A2C7-452B-8F99-D75AA913FD8D}" type="datetime'''''''''''''''''3''''''''6'''''''''''''''''">
              <a:rPr lang="en-US" sz="1600">
                <a:latin typeface="Arial"/>
                <a:cs typeface="Arial"/>
                <a:sym typeface="Arial"/>
              </a:rPr>
              <a:pPr marL="0" indent="0" algn="ctr">
                <a:spcAft>
                  <a:spcPct val="0"/>
                </a:spcAft>
              </a:pPr>
              <a:t>36</a:t>
            </a:fld>
            <a:endParaRPr lang="en-US" sz="1600" dirty="0">
              <a:latin typeface="Arial"/>
              <a:cs typeface="Arial"/>
              <a:sym typeface="Arial"/>
            </a:endParaRPr>
          </a:p>
        </p:txBody>
      </p:sp>
      <p:sp>
        <p:nvSpPr>
          <p:cNvPr id="98" name="Rectangle 97"/>
          <p:cNvSpPr/>
          <p:nvPr>
            <p:custDataLst>
              <p:tags r:id="rId18"/>
            </p:custDataLst>
          </p:nvPr>
        </p:nvSpPr>
        <p:spPr bwMode="gray">
          <a:xfrm>
            <a:off x="5762625" y="3616325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0B08BEDD-93BB-4BDB-A0C8-F4889C867EB7}" type="datetime'''''''''9''''''''''''''''''''8''''''''''''''''''''''%'''">
              <a:rPr lang="en-US" sz="160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pPr/>
              <a:t>98%</a:t>
            </a:fld>
            <a:endParaRPr lang="en-US" sz="1600" dirty="0" smtClean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05" name="Rectangle 104"/>
          <p:cNvSpPr/>
          <p:nvPr>
            <p:custDataLst>
              <p:tags r:id="rId19"/>
            </p:custDataLst>
          </p:nvPr>
        </p:nvSpPr>
        <p:spPr bwMode="gray">
          <a:xfrm>
            <a:off x="3097213" y="4735513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7C0C6B3A-7C43-4B36-99D1-FD83CA78939E}" type="datetime'''''''4''3''''''''''''''''''''''''''''''''''%'''">
              <a:rPr lang="en-US" sz="1600">
                <a:solidFill>
                  <a:srgbClr val="FFFFFF"/>
                </a:solidFill>
                <a:latin typeface="Arial"/>
                <a:ea typeface="ＭＳ Ｐゴシック"/>
                <a:cs typeface="Arial"/>
                <a:sym typeface="Arial"/>
              </a:rPr>
              <a:pPr/>
              <a:t>43%</a:t>
            </a:fld>
            <a:endParaRPr lang="en-US" sz="1600" dirty="0" smtClean="0">
              <a:solidFill>
                <a:srgbClr val="FFFFFF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30" name="Text Placeholder 14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746750" y="5853113"/>
            <a:ext cx="495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82563" indent="-18256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1pPr>
            <a:lvl2pPr marL="182563" indent="-180975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355600" indent="-17938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538163" indent="-1762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720725" indent="-17303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15430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0002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4574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9146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429A7B76-A613-4F72-998D-AB7E07D79AB9}" type="datetime'F''''i''''x''''''''''''''''''''''''''''e''''''''''''''''''d'">
              <a:rPr lang="en-US" sz="1600">
                <a:latin typeface="Arial"/>
                <a:cs typeface="Arial"/>
                <a:sym typeface="Arial"/>
              </a:rPr>
              <a:pPr marL="0" indent="0" algn="ctr">
                <a:spcAft>
                  <a:spcPct val="0"/>
                </a:spcAft>
              </a:pPr>
              <a:t>Fixed</a:t>
            </a:fld>
            <a:endParaRPr lang="en-US" sz="1600" dirty="0">
              <a:latin typeface="Arial"/>
              <a:cs typeface="Arial"/>
              <a:sym typeface="Arial"/>
            </a:endParaRPr>
          </a:p>
        </p:txBody>
      </p:sp>
      <p:sp>
        <p:nvSpPr>
          <p:cNvPr id="131" name="Text Placeholder 1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735763" y="5853113"/>
            <a:ext cx="6905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82563" indent="-18256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1pPr>
            <a:lvl2pPr marL="182563" indent="-180975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355600" indent="-17938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538163" indent="-1762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720725" indent="-17303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15430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0002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4574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9146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4895D067-610F-4A01-9434-5DF7CFC79184}" type="datetime'''I''''''''n''''''te''''''''''''r''''n''''''e''''''''''t'''">
              <a:rPr lang="en-US" sz="1600">
                <a:latin typeface="Arial"/>
                <a:cs typeface="Arial"/>
                <a:sym typeface="Arial"/>
              </a:rPr>
              <a:pPr marL="0" indent="0" algn="ctr">
                <a:spcAft>
                  <a:spcPct val="0"/>
                </a:spcAft>
              </a:pPr>
              <a:t>Internet</a:t>
            </a:fld>
            <a:endParaRPr lang="en-US" sz="1600" dirty="0">
              <a:latin typeface="Arial"/>
              <a:cs typeface="Arial"/>
              <a:sym typeface="Arial"/>
            </a:endParaRPr>
          </a:p>
        </p:txBody>
      </p:sp>
      <p:sp>
        <p:nvSpPr>
          <p:cNvPr id="106" name="Rectangle 105"/>
          <p:cNvSpPr/>
          <p:nvPr>
            <p:custDataLst>
              <p:tags r:id="rId22"/>
            </p:custDataLst>
          </p:nvPr>
        </p:nvSpPr>
        <p:spPr bwMode="gray">
          <a:xfrm>
            <a:off x="3097213" y="3148013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37B18062-A4AD-43B4-9D2D-A98B15BAF875}" type="datetime'''3''''''''''''''5''''''''''''''''''''''''''''''''''''''%'">
              <a:rPr lang="en-US" sz="160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pPr/>
              <a:t>35%</a:t>
            </a:fld>
            <a:endParaRPr lang="en-US" sz="1600" dirty="0" smtClean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32" name="Text Placeholder 1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470775" y="5853113"/>
            <a:ext cx="6619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82563" indent="-18256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1pPr>
            <a:lvl2pPr marL="182563" indent="-180975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355600" indent="-17938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538163" indent="-1762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720725" indent="-17303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15430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0002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4574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9146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AB4D9356-65EE-465C-9EFA-0F050029F954}" type="datetime'''''''P''''ay'''''''''' ''T''''''''''''''''''''''''''V'''''''">
              <a:rPr lang="en-US" sz="1600">
                <a:latin typeface="Arial"/>
                <a:cs typeface="Arial"/>
                <a:sym typeface="Arial"/>
              </a:rPr>
              <a:pPr marL="0" indent="0" algn="ctr">
                <a:spcAft>
                  <a:spcPct val="0"/>
                </a:spcAft>
              </a:pPr>
              <a:t>Pay TV</a:t>
            </a:fld>
            <a:endParaRPr lang="en-US" sz="1600" dirty="0">
              <a:latin typeface="Arial"/>
              <a:cs typeface="Arial"/>
              <a:sym typeface="Arial"/>
            </a:endParaRPr>
          </a:p>
        </p:txBody>
      </p:sp>
      <p:sp>
        <p:nvSpPr>
          <p:cNvPr id="129" name="Text Placeholder 1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030538" y="5853113"/>
            <a:ext cx="5969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82563" indent="-18256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1pPr>
            <a:lvl2pPr marL="182563" indent="-180975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355600" indent="-17938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538163" indent="-1762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720725" indent="-17303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15430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0002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4574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9146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E92A9503-3548-4B49-8223-9B3F4398B41A}" type="datetime'''''''''Mob''''''''''''''''il''''''''''e'''''''''''''''">
              <a:rPr lang="en-US" sz="1600">
                <a:latin typeface="Arial"/>
                <a:cs typeface="Arial"/>
                <a:sym typeface="Arial"/>
              </a:rPr>
              <a:pPr marL="0" indent="0" algn="ctr">
                <a:spcAft>
                  <a:spcPct val="0"/>
                </a:spcAft>
              </a:pPr>
              <a:t>Mobile</a:t>
            </a:fld>
            <a:endParaRPr lang="en-US" sz="1600" dirty="0">
              <a:latin typeface="Arial"/>
              <a:cs typeface="Arial"/>
              <a:sym typeface="Arial"/>
            </a:endParaRPr>
          </a:p>
        </p:txBody>
      </p:sp>
      <p:sp>
        <p:nvSpPr>
          <p:cNvPr id="108" name="Rectangle 107"/>
          <p:cNvSpPr/>
          <p:nvPr>
            <p:custDataLst>
              <p:tags r:id="rId25"/>
            </p:custDataLst>
          </p:nvPr>
        </p:nvSpPr>
        <p:spPr bwMode="auto">
          <a:xfrm>
            <a:off x="609600" y="4735513"/>
            <a:ext cx="631825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fld id="{F641DDB5-5A19-46B0-A151-EB3F05CB250E}" type="datetime'''''''''''L''''''''''''e''''''''''''a''''d''''e''''r'''">
              <a:rPr lang="en-US" sz="1600">
                <a:solidFill>
                  <a:srgbClr val="000000"/>
                </a:solidFill>
                <a:latin typeface="Arial"/>
                <a:ea typeface="ＭＳ Ｐゴシック"/>
                <a:cs typeface="Arial"/>
                <a:sym typeface="Arial"/>
              </a:rPr>
              <a:pPr/>
              <a:t>Leader</a:t>
            </a:fld>
            <a:endParaRPr lang="en-US" sz="1600" dirty="0" smtClean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09" name="Rectangle 108"/>
          <p:cNvSpPr/>
          <p:nvPr>
            <p:custDataLst>
              <p:tags r:id="rId26"/>
            </p:custDataLst>
          </p:nvPr>
        </p:nvSpPr>
        <p:spPr bwMode="auto">
          <a:xfrm>
            <a:off x="903288" y="3148013"/>
            <a:ext cx="338138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fld id="{466FB069-1674-4AD8-A2A7-501C33A75D93}" type="datetime'''''''''''''''''''''''''''''''2''''''''''n''''''d'''">
              <a:rPr lang="en-US" sz="1600">
                <a:solidFill>
                  <a:srgbClr val="000000"/>
                </a:solidFill>
                <a:latin typeface="Arial"/>
                <a:ea typeface="ＭＳ Ｐゴシック"/>
                <a:cs typeface="Arial"/>
                <a:sym typeface="Arial"/>
              </a:rPr>
              <a:pPr/>
              <a:t>2nd</a:t>
            </a:fld>
            <a:endParaRPr lang="en-US" sz="1600" dirty="0" smtClean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20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521575" y="1393825"/>
            <a:ext cx="2682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182563" indent="-18256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1pPr>
            <a:lvl2pPr marL="182563" indent="-180975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355600" indent="-17938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538163" indent="-1762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720725" indent="-17303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15430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0002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4574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9146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45D77179-CD17-4998-BCB9-DB597CD48307}" type="datetime'''''''''''11'''''''''''''''''''''''''''''''''''">
              <a:rPr lang="en-US" sz="1600">
                <a:latin typeface="Arial"/>
                <a:cs typeface="Arial"/>
                <a:sym typeface="Arial"/>
              </a:rPr>
              <a:pPr marL="0" indent="0" algn="ctr">
                <a:spcAft>
                  <a:spcPct val="0"/>
                </a:spcAft>
              </a:pPr>
              <a:t>11</a:t>
            </a:fld>
            <a:endParaRPr lang="en-US" sz="1600" dirty="0">
              <a:latin typeface="Arial"/>
              <a:cs typeface="Arial"/>
              <a:sym typeface="Arial"/>
            </a:endParaRPr>
          </a:p>
        </p:txBody>
      </p:sp>
      <p:sp>
        <p:nvSpPr>
          <p:cNvPr id="100" name="Rectangle 99"/>
          <p:cNvSpPr/>
          <p:nvPr>
            <p:custDataLst>
              <p:tags r:id="rId28"/>
            </p:custDataLst>
          </p:nvPr>
        </p:nvSpPr>
        <p:spPr bwMode="gray">
          <a:xfrm>
            <a:off x="7423150" y="4492625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3987802E-D80E-400A-A298-71B52C696C58}" type="datetime'''''''''''''''''''''''''''''55''%'''''''''''''''''''''''''''">
              <a:rPr lang="en-US" sz="160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55%</a:t>
            </a:fld>
            <a:endParaRPr lang="en-US" sz="1600" dirty="0" smtClean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95" name="Rectangle 94"/>
          <p:cNvSpPr/>
          <p:nvPr>
            <p:custDataLst>
              <p:tags r:id="rId29"/>
            </p:custDataLst>
          </p:nvPr>
        </p:nvSpPr>
        <p:spPr bwMode="gray">
          <a:xfrm>
            <a:off x="6848475" y="3067050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3CCDE6D3-72E0-4AF6-B669-13FF1CA901FD}" type="datetime'''''''''''''2''''''''''''''''''''''''''5%'''''''''''''''''''''">
              <a:rPr lang="en-US" sz="160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pPr/>
              <a:t>25%</a:t>
            </a:fld>
            <a:endParaRPr lang="en-US" sz="1600" dirty="0" smtClean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01" name="Rectangle 100"/>
          <p:cNvSpPr/>
          <p:nvPr>
            <p:custDataLst>
              <p:tags r:id="rId30"/>
            </p:custDataLst>
          </p:nvPr>
        </p:nvSpPr>
        <p:spPr bwMode="gray">
          <a:xfrm>
            <a:off x="7423150" y="3168650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B508F5C-921B-4665-86CE-0EDB4E2A155B}" type="datetime'''''''''''''''1''''''0''%'''''''''''''''''''''''''">
              <a:rPr lang="en-US" sz="160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en-US" sz="1600" dirty="0" smtClean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02" name="Rectangle 101"/>
          <p:cNvSpPr/>
          <p:nvPr>
            <p:custDataLst>
              <p:tags r:id="rId31"/>
            </p:custDataLst>
          </p:nvPr>
        </p:nvSpPr>
        <p:spPr bwMode="gray">
          <a:xfrm>
            <a:off x="7423150" y="2252663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C8A60C42-D104-4F24-A8C2-FFBED3F89F84}" type="datetime'''''''''''''''''''''''''''''''''''''''''''35''''''%'''''">
              <a:rPr lang="en-US" sz="1600">
                <a:solidFill>
                  <a:srgbClr val="000000"/>
                </a:solidFill>
                <a:latin typeface="Arial"/>
                <a:ea typeface="ＭＳ Ｐゴシック"/>
                <a:cs typeface="Arial"/>
                <a:sym typeface="Arial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35%</a:t>
            </a:fld>
            <a:endParaRPr lang="en-US" sz="1600" dirty="0" smtClean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04" name="Rectangle 103"/>
          <p:cNvSpPr/>
          <p:nvPr>
            <p:custDataLst>
              <p:tags r:id="rId32"/>
            </p:custDataLst>
          </p:nvPr>
        </p:nvSpPr>
        <p:spPr bwMode="gray">
          <a:xfrm>
            <a:off x="6848475" y="4594225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FE8D109F-F144-4A89-97F6-1531B38EFB5A}" type="datetime'''''''5''''''''''''''''''''''''''''0''%'''''''''''">
              <a:rPr lang="en-US" sz="160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pPr/>
              <a:t>50%</a:t>
            </a:fld>
            <a:endParaRPr lang="en-US" sz="1600" dirty="0" smtClean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19" name="Text Placeholder 11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938963" y="1393825"/>
            <a:ext cx="2825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182563" indent="-18256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Arial" pitchFamily="34" charset="0"/>
              </a:defRPr>
            </a:lvl1pPr>
            <a:lvl2pPr marL="182563" indent="-180975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355600" indent="-17938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538163" indent="-176213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Char char="–"/>
              <a:defRPr sz="1400" baseline="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720725" indent="-173038" algn="l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Font typeface="Verdana" pitchFamily="34" charset="0"/>
              <a:buChar char="–"/>
              <a:defRPr sz="14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15430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0002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4574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914650" indent="-269875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Aft>
                <a:spcPct val="0"/>
              </a:spcAft>
            </a:pPr>
            <a:fld id="{C8E14131-942F-4E33-A5A0-EB7D04BB9817}" type="datetime'''''''''''''17'''''''">
              <a:rPr lang="en-US" sz="1600">
                <a:latin typeface="Arial"/>
                <a:cs typeface="Arial"/>
                <a:sym typeface="Arial"/>
              </a:rPr>
              <a:pPr marL="0" indent="0" algn="ctr">
                <a:spcAft>
                  <a:spcPct val="0"/>
                </a:spcAft>
              </a:pPr>
              <a:t>17</a:t>
            </a:fld>
            <a:endParaRPr lang="en-US" sz="1600" dirty="0">
              <a:latin typeface="Arial"/>
              <a:cs typeface="Arial"/>
              <a:sym typeface="Arial"/>
            </a:endParaRPr>
          </a:p>
        </p:txBody>
      </p:sp>
      <p:sp>
        <p:nvSpPr>
          <p:cNvPr id="96" name="Rectangle 95"/>
          <p:cNvSpPr/>
          <p:nvPr>
            <p:custDataLst>
              <p:tags r:id="rId34"/>
            </p:custDataLst>
          </p:nvPr>
        </p:nvSpPr>
        <p:spPr bwMode="gray">
          <a:xfrm>
            <a:off x="6848475" y="2049463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47010D10-6A4C-4D6D-B740-794E720A9EBB}" type="datetime'''''''''2''''''''''''''''''''''''''5%'''''">
              <a:rPr lang="en-US" sz="1600">
                <a:solidFill>
                  <a:srgbClr val="000000"/>
                </a:solidFill>
                <a:latin typeface="Arial"/>
                <a:ea typeface="ＭＳ Ｐゴシック"/>
                <a:cs typeface="Arial"/>
                <a:sym typeface="Arial"/>
              </a:rPr>
              <a:pPr/>
              <a:t>25%</a:t>
            </a:fld>
            <a:endParaRPr lang="en-US" sz="1600" dirty="0" smtClean="0">
              <a:solidFill>
                <a:srgbClr val="000000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107" name="Rectangle 106"/>
          <p:cNvSpPr/>
          <p:nvPr>
            <p:custDataLst>
              <p:tags r:id="rId35"/>
            </p:custDataLst>
          </p:nvPr>
        </p:nvSpPr>
        <p:spPr bwMode="gray">
          <a:xfrm>
            <a:off x="3097213" y="1989138"/>
            <a:ext cx="463550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8575" tIns="0" rIns="285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A2602ED6-D45E-4B8E-B08D-409A60C0E2A2}" type="datetime'''''''2''''''''''''''''''''''''''''''''''''''''''2''%'''''">
              <a:rPr lang="en-US" sz="1600">
                <a:solidFill>
                  <a:schemeClr val="bg1"/>
                </a:solidFill>
                <a:latin typeface="Arial"/>
                <a:ea typeface="ＭＳ Ｐゴシック"/>
                <a:cs typeface="Arial"/>
                <a:sym typeface="Arial"/>
              </a:rPr>
              <a:pPr/>
              <a:t>22%</a:t>
            </a:fld>
            <a:endParaRPr lang="en-US" sz="1600" dirty="0" smtClean="0">
              <a:solidFill>
                <a:schemeClr val="bg1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112" name="Picture 22" descr="http://www.studentskizivot.com/wp-content/uploads/2012/03/Telenor_logo_1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237" y="4503781"/>
            <a:ext cx="501104" cy="4634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1" descr="http://www.telekom.rs/Dokumenta/logotipi/MTS-CMYK.jpg"/>
          <p:cNvPicPr>
            <a:picLocks noChangeAspect="1" noChangeArrowheads="1"/>
          </p:cNvPicPr>
          <p:nvPr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91" t="14594" r="8774" b="10447"/>
          <a:stretch/>
        </p:blipFill>
        <p:spPr bwMode="auto">
          <a:xfrm>
            <a:off x="1905357" y="3077533"/>
            <a:ext cx="609984" cy="3854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113"/>
          <p:cNvPicPr>
            <a:picLocks noChangeAspect="1"/>
          </p:cNvPicPr>
          <p:nvPr/>
        </p:nvPicPr>
        <p:blipFill rotWithShape="1">
          <a:blip r:embed="rId45" cstate="print">
            <a:extLst>
              <a:ext uri="{BEBA8EAE-BF5A-486C-A8C5-ECC9F3942E4B}">
                <a14:imgProps xmlns:a14="http://schemas.microsoft.com/office/drawing/2010/main">
                  <a14:imgLayer r:embed="rId46">
                    <a14:imgEffect>
                      <a14:backgroundRemoval t="45896" b="100000" l="4202" r="56863">
                        <a14:foregroundMark x1="21289" y1="86194" x2="21289" y2="86194"/>
                        <a14:foregroundMark x1="31092" y1="79104" x2="31092" y2="79104"/>
                        <a14:foregroundMark x1="29412" y1="69030" x2="29412" y2="69030"/>
                        <a14:foregroundMark x1="28852" y1="89925" x2="28852" y2="89925"/>
                        <a14:foregroundMark x1="29412" y1="86194" x2="29412" y2="86194"/>
                        <a14:foregroundMark x1="29412" y1="84701" x2="29412" y2="84701"/>
                        <a14:foregroundMark x1="49300" y1="66045" x2="49300" y2="66045"/>
                        <a14:foregroundMark x1="46218" y1="65672" x2="46218" y2="65672"/>
                        <a14:foregroundMark x1="35854" y1="61940" x2="35854" y2="6194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572" t="50000" r="43010"/>
          <a:stretch/>
        </p:blipFill>
        <p:spPr>
          <a:xfrm>
            <a:off x="1752339" y="1787682"/>
            <a:ext cx="916020" cy="7094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2" name="Picture 27" descr="http://www.videomajstor.com/files/slike/news/sbb-logo.png"/>
          <p:cNvPicPr>
            <a:picLocks noChangeAspect="1" noChangeArrowheads="1"/>
          </p:cNvPicPr>
          <p:nvPr/>
        </p:nvPicPr>
        <p:blipFill rotWithShape="1"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41" r="21921"/>
          <a:stretch/>
        </p:blipFill>
        <p:spPr bwMode="auto">
          <a:xfrm>
            <a:off x="5379379" y="1529896"/>
            <a:ext cx="365784" cy="322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27" descr="http://www.videomajstor.com/files/slike/news/sbb-logo.png"/>
          <p:cNvPicPr>
            <a:picLocks noChangeAspect="1" noChangeArrowheads="1"/>
          </p:cNvPicPr>
          <p:nvPr/>
        </p:nvPicPr>
        <p:blipFill rotWithShape="1"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41" r="21921"/>
          <a:stretch/>
        </p:blipFill>
        <p:spPr bwMode="auto">
          <a:xfrm>
            <a:off x="6895770" y="2744136"/>
            <a:ext cx="365784" cy="322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27" descr="http://www.videomajstor.com/files/slike/news/sbb-logo.png"/>
          <p:cNvPicPr>
            <a:picLocks noChangeAspect="1" noChangeArrowheads="1"/>
          </p:cNvPicPr>
          <p:nvPr/>
        </p:nvPicPr>
        <p:blipFill rotWithShape="1"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41" r="21921"/>
          <a:stretch/>
        </p:blipFill>
        <p:spPr bwMode="auto">
          <a:xfrm>
            <a:off x="7514567" y="3987395"/>
            <a:ext cx="365784" cy="322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24" descr="http://hpsr2012.etf.bg.ac.rs/Common/LogoTelekomSrbija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7968" y="3078197"/>
            <a:ext cx="1836132" cy="291486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133" name="TextBox 132"/>
          <p:cNvSpPr txBox="1"/>
          <p:nvPr/>
        </p:nvSpPr>
        <p:spPr>
          <a:xfrm>
            <a:off x="498474" y="5776575"/>
            <a:ext cx="11363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sr-Latn-RS" sz="1400" dirty="0" smtClean="0">
                <a:solidFill>
                  <a:srgbClr val="000000"/>
                </a:solidFill>
                <a:ea typeface="ＭＳ Ｐゴシック" pitchFamily="34" charset="-128"/>
              </a:rPr>
              <a:t>Rev. Market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sr-Latn-RS" sz="1400" dirty="0" smtClean="0">
                <a:solidFill>
                  <a:srgbClr val="000000"/>
                </a:solidFill>
                <a:ea typeface="ＭＳ Ｐゴシック" pitchFamily="34" charset="-128"/>
              </a:rPr>
              <a:t>shares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cxnSp>
        <p:nvCxnSpPr>
          <p:cNvPr id="134" name="Straight Arrow Connector 133"/>
          <p:cNvCxnSpPr/>
          <p:nvPr/>
        </p:nvCxnSpPr>
        <p:spPr bwMode="auto">
          <a:xfrm flipV="1">
            <a:off x="784224" y="5486063"/>
            <a:ext cx="0" cy="24604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103940" y="2003217"/>
            <a:ext cx="6992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1600" dirty="0" smtClean="0"/>
              <a:t>Other</a:t>
            </a:r>
            <a:endParaRPr lang="en-US" sz="1600" dirty="0" err="1" smtClean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7429501" y="2111375"/>
            <a:ext cx="6647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 flipV="1">
            <a:off x="7885113" y="2324101"/>
            <a:ext cx="246063" cy="173038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/>
          <p:cNvSpPr txBox="1"/>
          <p:nvPr/>
        </p:nvSpPr>
        <p:spPr>
          <a:xfrm>
            <a:off x="216024" y="1268760"/>
            <a:ext cx="12741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Yearly turnover,</a:t>
            </a:r>
          </a:p>
          <a:p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SD bn</a:t>
            </a:r>
            <a:endParaRPr lang="en-US" sz="1400" dirty="0" err="1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403350" y="1459523"/>
            <a:ext cx="610887" cy="0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42"/>
          <p:cNvCxnSpPr/>
          <p:nvPr>
            <p:custDataLst>
              <p:tags r:id="rId36"/>
            </p:custDataLst>
          </p:nvPr>
        </p:nvCxnSpPr>
        <p:spPr>
          <a:xfrm>
            <a:off x="395536" y="1124744"/>
            <a:ext cx="874846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TextBox 43"/>
          <p:cNvSpPr txBox="1"/>
          <p:nvPr>
            <p:custDataLst>
              <p:tags r:id="rId37"/>
            </p:custDataLst>
          </p:nvPr>
        </p:nvSpPr>
        <p:spPr>
          <a:xfrm>
            <a:off x="6732240" y="260648"/>
            <a:ext cx="2411760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r-Latn-CS" dirty="0" smtClean="0">
                <a:solidFill>
                  <a:srgbClr val="FFFFFF"/>
                </a:solidFill>
                <a:latin typeface="Arial" charset="0"/>
              </a:rPr>
              <a:t>ICT market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55" name="TextBox 47"/>
          <p:cNvSpPr txBox="1"/>
          <p:nvPr>
            <p:custDataLst>
              <p:tags r:id="rId38"/>
            </p:custDataLst>
          </p:nvPr>
        </p:nvSpPr>
        <p:spPr>
          <a:xfrm>
            <a:off x="216024" y="260648"/>
            <a:ext cx="395536" cy="1008112"/>
          </a:xfrm>
          <a:prstGeom prst="rect">
            <a:avLst/>
          </a:prstGeom>
          <a:solidFill>
            <a:srgbClr val="3399FF"/>
          </a:solidFill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11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fpFXQXkCIR57AproJs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kqCGWyoki0bVkeAChEw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hQ0KuCZEKd50EbuNBYf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gE47uAT0iA6298fuGB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lkZpGFUCbZJCTkaHyL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lkZpGFUCbZJCTkaHyL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fpFXQXkCIR57AproJ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kqCGWyoki0bVkeAChEw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hQ0KuCZEKd50EbuNBY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gE47uAT0iA6298fuGBo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fpFXQXkCIR57AproJs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kqCGWyoki0bVkeAChEw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hQ0KuCZEKd50EbuNBYf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gE47uAT0iA6298fuGBo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fpFXQXkCIR57AproJ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kqCGWyoki0bVkeAChEw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hQ0KuCZEKd50EbuNBYf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gE47uAT0iA6298fuGBo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fpFXQXkCIR57AproJ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kqCGWyoki0bVkeAChEw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hQ0KuCZEKd50EbuNBYf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gE47uAT0iA6298fuGB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8DGiPdgEGMKmNzomvk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PHtuUlO0Wg7Hl81ERZ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fpFXQXkCIR57AproJ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rI423mgEGHFau06GZL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hQ0KuCZEKd50EbuNBY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gE47uAT0iA6298fuGB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ymHOOaUEC_EMStA4s4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Ns9s_J102pjfCWGFD.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WsyscbFE61QYjvr92U8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eelCTyOUu34_Kob7uv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7VPAjs40.NKpq0Uloml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p_FyN0406vWV.MU1FJf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y4Bp36l0e3juFqTEH7.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65FfpcY0yJsZH5iyIaS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7YFEper0CUqNJkTVNI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JCJuwdk0y42y_60Rdh6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DeOu3cDkaJJjqBg3Tq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yx5e5elE6SFWFO5x4z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gPHqpsUySrZhurVeA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jcixopRUui6xhZ0Aoj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CpN2SH3EC.IK08_LCT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blECegfkiGF9Bp5t9A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PjLIN6Y0Oot0QJA5iq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CrwIy500eTm4SQAZFKP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U3ku1dGEii7Mrz2LD3j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yrJFKts0OIPvwcW.tk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lWxRKBpkiSmcROR0Ii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7D1HQcoUufeeFPHyAH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qE1yWRuU2uN7OeDoT3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fpFXQXkCIR57AproJ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3XZSBSeEiy5LIFAmia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gE47uAT0iA6298fuGB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CloUMrcE24raizPAqA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nNavAM6kia7brWS7NG_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HVdR68TkumYpgHetCF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92jpuRPEyYBh9DBJH51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EPP4xT20ew256cY_sxC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93a4MQMEezcOlk1pUyq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pHgMkvkESLDiyBpRoB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4s.uxoO02.wzBNXoPwW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oB6efnsUa_hzurars12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j62wxXKk275iesx9vpd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yxfAsox0qS4XpK6NI4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JIvU2C8EiBeiNmbvEN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y1dgUSREyjICK.3ZTHL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uzEhIf1EymaxD6pwC2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mLhjUV8EeihXX9WIm4x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kJLMzkEushVeGXkmw1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TypGCEhkSlFhnZvHTg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ZafwhNb0akJFGnLuq9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KrI0oNd0CPeQgftHE5J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_rY695EC8EGKzFhe4y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VrEEg100Ombl_rhwry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k4xx6HaUiXtvH0FvVt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wpKkoqB0uD4ZEnzBzF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c7M1WxIkSiRpK8dl1h2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dWBY5bfU6JjhgSRUugE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nduO_9mke44H16JVgg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emhmBQU6_U81iwNmzn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wRGRGMSE6lDEaoEIxMx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39euZfqkWxErvSGwr1t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55J0sNckiMdhBzW7S0Z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DIuBOtZUGOvr9kavAu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zOEmc1LUOKQnWqhi9ew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XYhicWwkWdOeePh94UH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gE47uAT0iA6298fuGBo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jADMoN0.0Y9cmajgC2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elN3T56EmTfWjaptyQ_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fpFXQXkCIR57AproJs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kqCGWyoki0bVkeAChEw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hQ0KuCZEKd50EbuNBYf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gE47uAT0iA6298fuGBoQ"/>
</p:tagLst>
</file>

<file path=ppt/theme/theme1.xml><?xml version="1.0" encoding="utf-8"?>
<a:theme xmlns:a="http://schemas.openxmlformats.org/drawingml/2006/main" name="1_Telenor_white_creative (2)">
  <a:themeElements>
    <a:clrScheme name="Telenor_white_creative (2)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white_creative (2)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lenor_white_creative (2)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white_creative (2)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white_creative (2)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blank">
  <a:themeElements>
    <a:clrScheme name="GPU main">
      <a:dk1>
        <a:srgbClr val="000000"/>
      </a:dk1>
      <a:lt1>
        <a:srgbClr val="FFFFFF"/>
      </a:lt1>
      <a:dk2>
        <a:srgbClr val="BA9E66"/>
      </a:dk2>
      <a:lt2>
        <a:srgbClr val="A10082"/>
      </a:lt2>
      <a:accent1>
        <a:srgbClr val="00A6D6"/>
      </a:accent1>
      <a:accent2>
        <a:srgbClr val="C9DB03"/>
      </a:accent2>
      <a:accent3>
        <a:srgbClr val="7D8F29"/>
      </a:accent3>
      <a:accent4>
        <a:srgbClr val="D9D6D1"/>
      </a:accent4>
      <a:accent5>
        <a:srgbClr val="8C8F91"/>
      </a:accent5>
      <a:accent6>
        <a:srgbClr val="424A52"/>
      </a:accent6>
      <a:hlink>
        <a:srgbClr val="D95900"/>
      </a:hlink>
      <a:folHlink>
        <a:srgbClr val="F7DB17"/>
      </a:folHlink>
    </a:clrScheme>
    <a:fontScheme name="Arial novi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headEnd/>
          <a:tailEnd/>
        </a:ln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indent="1588" algn="ctr">
          <a:buClr>
            <a:schemeClr val="tx1"/>
          </a:buClr>
          <a:defRPr sz="1400" dirty="0" smtClean="0">
            <a:solidFill>
              <a:schemeClr val="tx1"/>
            </a:solidFill>
            <a:latin typeface="Verdana" pitchFamily="34" charset="0"/>
            <a:cs typeface="Arial" pitchFamily="34" charset="0"/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latin typeface="Verdana" pitchFamily="34" charset="0"/>
          </a:defRPr>
        </a:defPPr>
      </a:lstStyle>
    </a:txDef>
  </a:objectDefaults>
  <a:extraClrSchemeLst>
    <a:extraClrScheme>
      <a:clrScheme name="Telenor_group_white_revise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white_revise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lenor_white_creative">
  <a:themeElements>
    <a:clrScheme name="23_Telenor_White_version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23_Telenor_White_vers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ln>
          <a:solidFill>
            <a:srgbClr val="FF0000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4"/>
        </a:lnRef>
        <a:fillRef idx="0">
          <a:schemeClr val="accent4"/>
        </a:fillRef>
        <a:effectRef idx="0">
          <a:schemeClr val="accent4"/>
        </a:effectRef>
        <a:fontRef idx="minor">
          <a:schemeClr val="tx1"/>
        </a:fontRef>
      </a:style>
    </a:lnDef>
  </a:objectDefaults>
  <a:extraClrSchemeLst>
    <a:extraClrScheme>
      <a:clrScheme name="23_Telenor_White_versio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3_Telenor_White_vers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3_Telenor_White_version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owerpoint-template_telenor_creative">
  <a:themeElements>
    <a:clrScheme name="Custom 1">
      <a:dk1>
        <a:srgbClr val="000000"/>
      </a:dk1>
      <a:lt1>
        <a:srgbClr val="FFFFFF"/>
      </a:lt1>
      <a:dk2>
        <a:srgbClr val="365FAA"/>
      </a:dk2>
      <a:lt2>
        <a:srgbClr val="E0D6B5"/>
      </a:lt2>
      <a:accent1>
        <a:srgbClr val="00ACE7"/>
      </a:accent1>
      <a:accent2>
        <a:srgbClr val="D95900"/>
      </a:accent2>
      <a:accent3>
        <a:srgbClr val="A10082"/>
      </a:accent3>
      <a:accent4>
        <a:srgbClr val="C9DB03"/>
      </a:accent4>
      <a:accent5>
        <a:srgbClr val="7D8F29"/>
      </a:accent5>
      <a:accent6>
        <a:srgbClr val="F7DB17"/>
      </a:accent6>
      <a:hlink>
        <a:srgbClr val="BA9E66"/>
      </a:hlink>
      <a:folHlink>
        <a:srgbClr val="8C8F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3</TotalTime>
  <Words>923</Words>
  <Application>Microsoft Office PowerPoint</Application>
  <PresentationFormat>On-screen Show (4:3)</PresentationFormat>
  <Paragraphs>209</Paragraphs>
  <Slides>16</Slides>
  <Notes>5</Notes>
  <HiddenSlides>1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1_Telenor_white_creative (2)</vt:lpstr>
      <vt:lpstr>4_blank</vt:lpstr>
      <vt:lpstr>Telenor_white_creative</vt:lpstr>
      <vt:lpstr>Powerpoint-template_telenor_creative</vt:lpstr>
      <vt:lpstr>think-cell Slide</vt:lpstr>
      <vt:lpstr>ICT market in Serbia - trends and perspectives</vt:lpstr>
      <vt:lpstr>Telenor Group global footprint.</vt:lpstr>
      <vt:lpstr>PowerPoint Presentation</vt:lpstr>
      <vt:lpstr>Telenor Strategy.</vt:lpstr>
      <vt:lpstr>Main industry trends.</vt:lpstr>
      <vt:lpstr>High speed Internet everywhere will shift consumer behaviour.</vt:lpstr>
      <vt:lpstr>Future household in Serbia</vt:lpstr>
      <vt:lpstr>Networks evolution: more, higher, faster, everywhere.</vt:lpstr>
      <vt:lpstr>Snapshot of ICT market in Serbia. Key players &amp; RMS.</vt:lpstr>
      <vt:lpstr>Telenor Wholesale Service</vt:lpstr>
      <vt:lpstr>Telenor Wholesale Service</vt:lpstr>
      <vt:lpstr>Telenor Wholesale Service</vt:lpstr>
      <vt:lpstr>Telenor Wholesale Service</vt:lpstr>
      <vt:lpstr>Telenor Fixed Wholesale Service</vt:lpstr>
      <vt:lpstr>Telenor Wholesale Service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azen Petrovic</dc:creator>
  <cp:lastModifiedBy>Aleksandra Pekovic</cp:lastModifiedBy>
  <cp:revision>22</cp:revision>
  <dcterms:created xsi:type="dcterms:W3CDTF">2016-04-13T09:38:56Z</dcterms:created>
  <dcterms:modified xsi:type="dcterms:W3CDTF">2016-04-25T10:53:26Z</dcterms:modified>
</cp:coreProperties>
</file>